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8.xml" ContentType="application/vnd.openxmlformats-officedocument.presentationml.tags+xml"/>
  <Override PartName="/ppt/notesSlides/notesSlide1.xml" ContentType="application/vnd.openxmlformats-officedocument.presentationml.notesSlid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70" r:id="rId4"/>
  </p:sldMasterIdLst>
  <p:notesMasterIdLst>
    <p:notesMasterId r:id="rId14"/>
  </p:notesMasterIdLst>
  <p:handoutMasterIdLst>
    <p:handoutMasterId r:id="rId15"/>
  </p:handoutMasterIdLst>
  <p:sldIdLst>
    <p:sldId id="281" r:id="rId5"/>
    <p:sldId id="2147482726" r:id="rId6"/>
    <p:sldId id="2147480030" r:id="rId7"/>
    <p:sldId id="2147473081" r:id="rId8"/>
    <p:sldId id="2147480090" r:id="rId9"/>
    <p:sldId id="2147482721" r:id="rId10"/>
    <p:sldId id="2147482725" r:id="rId11"/>
    <p:sldId id="2147482734" r:id="rId12"/>
    <p:sldId id="2147482733" r:id="rId13"/>
  </p:sldIdLst>
  <p:sldSz cx="9144000" cy="5148263"/>
  <p:notesSz cx="6858000" cy="9144000"/>
  <p:custDataLst>
    <p:tags r:id="rId16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622" userDrawn="1">
          <p15:clr>
            <a:srgbClr val="A4A3A4"/>
          </p15:clr>
        </p15:guide>
        <p15:guide id="2" pos="2880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Cicco Rocco Antonio Maria" initials="CRAM" lastIdx="6" clrIdx="0">
    <p:extLst>
      <p:ext uri="{19B8F6BF-5375-455C-9EA6-DF929625EA0E}">
        <p15:presenceInfo xmlns:p15="http://schemas.microsoft.com/office/powerpoint/2012/main" userId="S-1-5-21-2776003779-2796079000-806773148-116358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4F7FA"/>
    <a:srgbClr val="EAEEF6"/>
    <a:srgbClr val="2E4860"/>
    <a:srgbClr val="C9ECFF"/>
    <a:srgbClr val="E5FFF1"/>
    <a:srgbClr val="F2F2F2"/>
    <a:srgbClr val="E1FFEF"/>
    <a:srgbClr val="C5FFDF"/>
    <a:srgbClr val="00B050"/>
    <a:srgbClr val="FFC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AE286ADE-D0D7-4F40-A935-A82C7B196A39}" v="587" dt="2024-09-18T09:19:18.844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ile medio 2 - Color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7" autoAdjust="0"/>
    <p:restoredTop sz="93324" autoAdjust="0"/>
  </p:normalViewPr>
  <p:slideViewPr>
    <p:cSldViewPr snapToGrid="0" showGuides="1">
      <p:cViewPr varScale="1">
        <p:scale>
          <a:sx n="84" d="100"/>
          <a:sy n="84" d="100"/>
        </p:scale>
        <p:origin x="764" y="52"/>
      </p:cViewPr>
      <p:guideLst>
        <p:guide orient="horz" pos="1622"/>
        <p:guide pos="2880"/>
      </p:guideLst>
    </p:cSldViewPr>
  </p:slideViewPr>
  <p:outlineViewPr>
    <p:cViewPr>
      <p:scale>
        <a:sx n="33" d="100"/>
        <a:sy n="33" d="100"/>
      </p:scale>
      <p:origin x="0" y="-5626"/>
    </p:cViewPr>
  </p:outlineViewPr>
  <p:notesTextViewPr>
    <p:cViewPr>
      <p:scale>
        <a:sx n="1" d="1"/>
        <a:sy n="1" d="1"/>
      </p:scale>
      <p:origin x="0" y="0"/>
    </p:cViewPr>
  </p:notesTextViewPr>
  <p:gridSpacing cx="86399" cy="86399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tableStyles" Target="tableStyle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commentAuthors" Target="commentAuthors.xml"/><Relationship Id="rId2" Type="http://schemas.openxmlformats.org/officeDocument/2006/relationships/customXml" Target="../customXml/item2.xml"/><Relationship Id="rId16" Type="http://schemas.openxmlformats.org/officeDocument/2006/relationships/tags" Target="tags/tag1.xml"/><Relationship Id="rId20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handoutMaster" Target="handoutMasters/handoutMaster1.xml"/><Relationship Id="rId10" Type="http://schemas.openxmlformats.org/officeDocument/2006/relationships/slide" Target="slides/slide6.xml"/><Relationship Id="rId19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notesMaster" Target="notesMasters/notesMaster1.xml"/><Relationship Id="rId22" Type="http://schemas.microsoft.com/office/2015/10/relationships/revisionInfo" Target="revisionInfo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ntestazion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3" name="Segnaposto data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5357A43-D2CD-7E4C-9AAF-6F080364AC18}" type="datetimeFigureOut">
              <a:rPr lang="it-IT" smtClean="0"/>
              <a:t>18/09/2024</a:t>
            </a:fld>
            <a:endParaRPr lang="it-IT"/>
          </a:p>
        </p:txBody>
      </p:sp>
      <p:sp>
        <p:nvSpPr>
          <p:cNvPr id="4" name="Segnaposto piè di pagina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5" name="Segnaposto numero diapositiva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A79CAE3-2D8A-C243-A201-C6C376AC866F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6784708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ntestazion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/>
            </a:lvl1pPr>
          </a:lstStyle>
          <a:p>
            <a:endParaRPr lang="it-IT" dirty="0"/>
          </a:p>
        </p:txBody>
      </p:sp>
      <p:sp>
        <p:nvSpPr>
          <p:cNvPr id="3" name="Segnaposto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/>
            </a:lvl1pPr>
          </a:lstStyle>
          <a:p>
            <a:fld id="{C6237E4B-567D-4B2D-8070-D0D5B7D150F1}" type="datetimeFigureOut">
              <a:rPr lang="it-IT" smtClean="0"/>
              <a:pPr/>
              <a:t>18/09/2024</a:t>
            </a:fld>
            <a:endParaRPr lang="it-IT" dirty="0"/>
          </a:p>
        </p:txBody>
      </p:sp>
      <p:sp>
        <p:nvSpPr>
          <p:cNvPr id="4" name="Segnaposto immagin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688975" y="1143000"/>
            <a:ext cx="548005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it-IT"/>
          </a:p>
        </p:txBody>
      </p:sp>
      <p:sp>
        <p:nvSpPr>
          <p:cNvPr id="5" name="Segnaposto note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it-IT" dirty="0"/>
              <a:t>Modifica gli stili del testo dello schema</a:t>
            </a:r>
          </a:p>
          <a:p>
            <a:pPr lvl="1"/>
            <a:r>
              <a:rPr lang="it-IT" dirty="0"/>
              <a:t>Secondo livello</a:t>
            </a:r>
          </a:p>
          <a:p>
            <a:pPr lvl="2"/>
            <a:r>
              <a:rPr lang="it-IT" dirty="0"/>
              <a:t>Terzo livello</a:t>
            </a:r>
          </a:p>
          <a:p>
            <a:pPr lvl="3"/>
            <a:r>
              <a:rPr lang="it-IT" dirty="0"/>
              <a:t>Quarto livello</a:t>
            </a:r>
          </a:p>
          <a:p>
            <a:pPr lvl="4"/>
            <a:r>
              <a:rPr lang="it-IT" dirty="0"/>
              <a:t>Quinto livello</a:t>
            </a:r>
          </a:p>
        </p:txBody>
      </p:sp>
      <p:sp>
        <p:nvSpPr>
          <p:cNvPr id="6" name="Segnaposto piè di pagina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/>
            </a:lvl1pPr>
          </a:lstStyle>
          <a:p>
            <a:endParaRPr lang="it-IT" dirty="0"/>
          </a:p>
        </p:txBody>
      </p:sp>
      <p:sp>
        <p:nvSpPr>
          <p:cNvPr id="7" name="Segnaposto numero diapositiva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/>
            </a:lvl1pPr>
          </a:lstStyle>
          <a:p>
            <a:fld id="{23E66357-C92E-485E-B7C3-82CCC873D00A}" type="slidenum">
              <a:rPr lang="it-IT" smtClean="0"/>
              <a:pPr/>
              <a:t>‹N›</a:t>
            </a:fld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42897362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3E66357-C92E-485E-B7C3-82CCC873D00A}" type="slidenum">
              <a:rPr lang="it-IT" smtClean="0"/>
              <a:pPr/>
              <a:t>1</a:t>
            </a:fld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17354759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5" Type="http://schemas.openxmlformats.org/officeDocument/2006/relationships/image" Target="../media/image2.jpg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5" Type="http://schemas.openxmlformats.org/officeDocument/2006/relationships/image" Target="../media/image3.jpg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5" Type="http://schemas.openxmlformats.org/officeDocument/2006/relationships/image" Target="../media/image4.jpg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5" Type="http://schemas.openxmlformats.org/officeDocument/2006/relationships/image" Target="../media/image4.jpg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5" Type="http://schemas.openxmlformats.org/officeDocument/2006/relationships/image" Target="../media/image4.jpg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7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050716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5" progId="TCLayout.ActiveDocument.1">
                  <p:embed/>
                </p:oleObj>
              </mc:Choice>
              <mc:Fallback>
                <p:oleObj name="think-cell Slide" r:id="rId3" imgW="592" imgH="595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Immagine 2">
            <a:extLst>
              <a:ext uri="{FF2B5EF4-FFF2-40B4-BE49-F238E27FC236}">
                <a16:creationId xmlns:a16="http://schemas.microsoft.com/office/drawing/2014/main" id="{A4C227D9-6796-F642-8450-3994784D0BA4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2381"/>
            <a:ext cx="9144000" cy="51435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592580" y="933993"/>
            <a:ext cx="6858000" cy="325652"/>
          </a:xfrm>
          <a:prstGeom prst="rect">
            <a:avLst/>
          </a:prstGeom>
        </p:spPr>
        <p:txBody>
          <a:bodyPr vert="horz" anchor="t">
            <a:noAutofit/>
          </a:bodyPr>
          <a:lstStyle>
            <a:lvl1pPr algn="r" rtl="0">
              <a:defRPr sz="1800" b="1">
                <a:solidFill>
                  <a:srgbClr val="0F3250"/>
                </a:solidFill>
                <a:latin typeface="+mn-lt"/>
              </a:defRPr>
            </a:lvl1pPr>
          </a:lstStyle>
          <a:p>
            <a:r>
              <a:rPr lang="it-IT" noProof="0" dirty="0"/>
              <a:t>FARE CLIC PER MODIFICARE </a:t>
            </a:r>
            <a:r>
              <a:rPr lang="it-IT" noProof="0"/>
              <a:t>IL TITOLO</a:t>
            </a:r>
            <a:endParaRPr lang="it-IT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592580" y="1259646"/>
            <a:ext cx="6858000" cy="325652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 rtl="0">
              <a:buNone/>
              <a:defRPr sz="1600">
                <a:solidFill>
                  <a:srgbClr val="0F3250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it-IT" noProof="0" dirty="0"/>
              <a:t>Fare clic per modificare il sottotitolo</a:t>
            </a:r>
          </a:p>
        </p:txBody>
      </p:sp>
      <p:sp>
        <p:nvSpPr>
          <p:cNvPr id="10" name="Segnaposto testo 9">
            <a:extLst>
              <a:ext uri="{FF2B5EF4-FFF2-40B4-BE49-F238E27FC236}">
                <a16:creationId xmlns:a16="http://schemas.microsoft.com/office/drawing/2014/main" id="{7F738A74-27ED-4AD4-8EC0-C89BD70E0D6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72000" y="3535998"/>
            <a:ext cx="3856355" cy="325437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r" rtl="0">
              <a:buFontTx/>
              <a:buNone/>
              <a:defRPr sz="1000">
                <a:solidFill>
                  <a:srgbClr val="0F3250"/>
                </a:solidFill>
                <a:latin typeface="+mn-lt"/>
              </a:defRPr>
            </a:lvl1pPr>
            <a:lvl2pPr>
              <a:defRPr sz="1000">
                <a:latin typeface="+mn-lt"/>
              </a:defRPr>
            </a:lvl2pPr>
            <a:lvl3pPr>
              <a:defRPr sz="1000">
                <a:latin typeface="+mn-lt"/>
              </a:defRPr>
            </a:lvl3pPr>
            <a:lvl4pPr>
              <a:defRPr sz="1000">
                <a:latin typeface="+mn-lt"/>
              </a:defRPr>
            </a:lvl4pPr>
            <a:lvl5pPr>
              <a:defRPr sz="1000">
                <a:latin typeface="+mn-lt"/>
              </a:defRPr>
            </a:lvl5pPr>
          </a:lstStyle>
          <a:p>
            <a:pPr lvl="0"/>
            <a:r>
              <a:rPr lang="it-IT" noProof="0" dirty="0"/>
              <a:t>Luogo, giorno mese anno</a:t>
            </a:r>
          </a:p>
        </p:txBody>
      </p:sp>
    </p:spTree>
    <p:extLst>
      <p:ext uri="{BB962C8B-B14F-4D97-AF65-F5344CB8AC3E}">
        <p14:creationId xmlns:p14="http://schemas.microsoft.com/office/powerpoint/2010/main" val="361758420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zione / Allega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41220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5" progId="TCLayout.ActiveDocument.1">
                  <p:embed/>
                </p:oleObj>
              </mc:Choice>
              <mc:Fallback>
                <p:oleObj name="think-cell Slide" r:id="rId3" imgW="592" imgH="59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Immagine 3">
            <a:extLst>
              <a:ext uri="{FF2B5EF4-FFF2-40B4-BE49-F238E27FC236}">
                <a16:creationId xmlns:a16="http://schemas.microsoft.com/office/drawing/2014/main" id="{0FC6D762-7AEC-4D43-8ED9-07ED229547D8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2381"/>
            <a:ext cx="9144000" cy="5143500"/>
          </a:xfrm>
          <a:prstGeom prst="rect">
            <a:avLst/>
          </a:prstGeom>
        </p:spPr>
      </p:pic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1962149" y="1181373"/>
            <a:ext cx="6914138" cy="42506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 rtl="0">
              <a:defRPr sz="2000" b="1">
                <a:solidFill>
                  <a:srgbClr val="0F3250"/>
                </a:solidFill>
              </a:defRPr>
            </a:lvl1pPr>
          </a:lstStyle>
          <a:p>
            <a:r>
              <a:rPr lang="it-IT" noProof="0" dirty="0"/>
              <a:t>Fare clic per inserire il nome della sezione</a:t>
            </a:r>
          </a:p>
        </p:txBody>
      </p:sp>
    </p:spTree>
    <p:extLst>
      <p:ext uri="{BB962C8B-B14F-4D97-AF65-F5344CB8AC3E}">
        <p14:creationId xmlns:p14="http://schemas.microsoft.com/office/powerpoint/2010/main" val="412277249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841524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5" progId="TCLayout.ActiveDocument.1">
                  <p:embed/>
                </p:oleObj>
              </mc:Choice>
              <mc:Fallback>
                <p:oleObj name="think-cell Slide" r:id="rId3" imgW="592" imgH="595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Immagine 4">
            <a:extLst>
              <a:ext uri="{FF2B5EF4-FFF2-40B4-BE49-F238E27FC236}">
                <a16:creationId xmlns:a16="http://schemas.microsoft.com/office/drawing/2014/main" id="{F41A6E40-2A48-394F-A743-E06544DD4ED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2381"/>
            <a:ext cx="9144000" cy="5143500"/>
          </a:xfrm>
          <a:prstGeom prst="rect">
            <a:avLst/>
          </a:prstGeom>
        </p:spPr>
      </p:pic>
      <p:sp>
        <p:nvSpPr>
          <p:cNvPr id="13" name="Round Diagonal Corner Rectangle 12"/>
          <p:cNvSpPr/>
          <p:nvPr userDrawn="1"/>
        </p:nvSpPr>
        <p:spPr>
          <a:xfrm>
            <a:off x="0" y="476637"/>
            <a:ext cx="9144000" cy="4356000"/>
          </a:xfrm>
          <a:prstGeom prst="round2DiagRect">
            <a:avLst>
              <a:gd name="adj1" fmla="val 0"/>
              <a:gd name="adj2" fmla="val 20374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/>
            <a:endParaRPr lang="it-IT" noProof="0" dirty="0"/>
          </a:p>
        </p:txBody>
      </p:sp>
      <p:sp>
        <p:nvSpPr>
          <p:cNvPr id="17" name="Slide Number Placeholder 6">
            <a:extLst>
              <a:ext uri="{FF2B5EF4-FFF2-40B4-BE49-F238E27FC236}">
                <a16:creationId xmlns:a16="http://schemas.microsoft.com/office/drawing/2014/main" id="{5EB157B1-6F16-4A97-99F7-D1F5FB853FD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474392" y="227057"/>
            <a:ext cx="452438" cy="274097"/>
          </a:xfrm>
          <a:prstGeom prst="rect">
            <a:avLst/>
          </a:prstGeom>
        </p:spPr>
        <p:txBody>
          <a:bodyPr anchor="ctr"/>
          <a:lstStyle>
            <a:lvl1pPr algn="r" rtl="0">
              <a:defRPr sz="800">
                <a:solidFill>
                  <a:schemeClr val="bg1"/>
                </a:solidFill>
                <a:latin typeface="+mn-lt"/>
              </a:defRPr>
            </a:lvl1pPr>
          </a:lstStyle>
          <a:p>
            <a:fld id="{7998DEE5-5424-45CB-8336-3215AFBD0173}" type="slidenum">
              <a:rPr lang="it-IT" smtClean="0"/>
              <a:pPr/>
              <a:t>‹N›</a:t>
            </a:fld>
            <a:endParaRPr lang="it-IT" dirty="0"/>
          </a:p>
        </p:txBody>
      </p: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75147" y="146989"/>
            <a:ext cx="7726543" cy="354165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 rtl="0">
              <a:defRPr sz="1400" b="1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it-IT" noProof="0" dirty="0"/>
              <a:t>Fare clic per inserire il titolo</a:t>
            </a:r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12208" y="5000663"/>
            <a:ext cx="8672400" cy="147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b"/>
          <a:lstStyle>
            <a:lvl1pPr marL="0" indent="0" rtl="0">
              <a:spcBef>
                <a:spcPts val="0"/>
              </a:spcBef>
              <a:buNone/>
              <a:defRPr lang="en-US" sz="600" i="1" baseline="0" dirty="0">
                <a:solidFill>
                  <a:schemeClr val="bg1"/>
                </a:solidFill>
              </a:defRPr>
            </a:lvl1pPr>
          </a:lstStyle>
          <a:p>
            <a:pPr marL="0" lvl="0" defTabSz="457200"/>
            <a:r>
              <a:rPr lang="it-IT" noProof="0" dirty="0"/>
              <a:t>1. Fare clic per inserire una nota</a:t>
            </a:r>
          </a:p>
        </p:txBody>
      </p:sp>
    </p:spTree>
    <p:extLst>
      <p:ext uri="{BB962C8B-B14F-4D97-AF65-F5344CB8AC3E}">
        <p14:creationId xmlns:p14="http://schemas.microsoft.com/office/powerpoint/2010/main" val="196317569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- Box bi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918061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5" progId="TCLayout.ActiveDocument.1">
                  <p:embed/>
                </p:oleObj>
              </mc:Choice>
              <mc:Fallback>
                <p:oleObj name="think-cell Slide" r:id="rId3" imgW="592" imgH="595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Immagine 4">
            <a:extLst>
              <a:ext uri="{FF2B5EF4-FFF2-40B4-BE49-F238E27FC236}">
                <a16:creationId xmlns:a16="http://schemas.microsoft.com/office/drawing/2014/main" id="{F41A6E40-2A48-394F-A743-E06544DD4ED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2381"/>
            <a:ext cx="9144000" cy="5143500"/>
          </a:xfrm>
          <a:prstGeom prst="rect">
            <a:avLst/>
          </a:prstGeom>
        </p:spPr>
      </p:pic>
      <p:sp>
        <p:nvSpPr>
          <p:cNvPr id="7" name="Rectangle 6"/>
          <p:cNvSpPr/>
          <p:nvPr userDrawn="1"/>
        </p:nvSpPr>
        <p:spPr>
          <a:xfrm>
            <a:off x="0" y="476637"/>
            <a:ext cx="9144000" cy="435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 rtl="0"/>
            <a:endParaRPr lang="it-IT" noProof="0" dirty="0"/>
          </a:p>
        </p:txBody>
      </p:sp>
      <p:sp>
        <p:nvSpPr>
          <p:cNvPr id="17" name="Slide Number Placeholder 6">
            <a:extLst>
              <a:ext uri="{FF2B5EF4-FFF2-40B4-BE49-F238E27FC236}">
                <a16:creationId xmlns:a16="http://schemas.microsoft.com/office/drawing/2014/main" id="{5EB157B1-6F16-4A97-99F7-D1F5FB853FD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474392" y="227057"/>
            <a:ext cx="452438" cy="274097"/>
          </a:xfrm>
          <a:prstGeom prst="rect">
            <a:avLst/>
          </a:prstGeom>
        </p:spPr>
        <p:txBody>
          <a:bodyPr anchor="ctr"/>
          <a:lstStyle>
            <a:lvl1pPr algn="r" rtl="0">
              <a:defRPr sz="800">
                <a:solidFill>
                  <a:schemeClr val="bg1"/>
                </a:solidFill>
                <a:latin typeface="+mn-lt"/>
              </a:defRPr>
            </a:lvl1pPr>
          </a:lstStyle>
          <a:p>
            <a:fld id="{7998DEE5-5424-45CB-8336-3215AFBD0173}" type="slidenum">
              <a:rPr lang="it-IT" smtClean="0"/>
              <a:pPr/>
              <a:t>‹N›</a:t>
            </a:fld>
            <a:endParaRPr lang="it-IT" dirty="0"/>
          </a:p>
        </p:txBody>
      </p: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75147" y="146989"/>
            <a:ext cx="7726543" cy="354165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 rtl="0">
              <a:defRPr sz="1400" b="1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it-IT" noProof="0" dirty="0"/>
              <a:t>Fare clic per inserire il titolo</a:t>
            </a:r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12208" y="5000663"/>
            <a:ext cx="8672400" cy="147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b"/>
          <a:lstStyle>
            <a:lvl1pPr marL="0" indent="0" rtl="0">
              <a:spcBef>
                <a:spcPts val="0"/>
              </a:spcBef>
              <a:buNone/>
              <a:defRPr lang="en-US" sz="600" i="1" baseline="0" dirty="0">
                <a:solidFill>
                  <a:schemeClr val="bg1"/>
                </a:solidFill>
              </a:defRPr>
            </a:lvl1pPr>
          </a:lstStyle>
          <a:p>
            <a:pPr marL="0" lvl="0" defTabSz="457200"/>
            <a:r>
              <a:rPr lang="it-IT" noProof="0" dirty="0"/>
              <a:t>1. Fare clic per inserire una nota</a:t>
            </a:r>
          </a:p>
        </p:txBody>
      </p:sp>
    </p:spTree>
    <p:extLst>
      <p:ext uri="{BB962C8B-B14F-4D97-AF65-F5344CB8AC3E}">
        <p14:creationId xmlns:p14="http://schemas.microsoft.com/office/powerpoint/2010/main" val="330061713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lide - Pian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689559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5" progId="TCLayout.ActiveDocument.1">
                  <p:embed/>
                </p:oleObj>
              </mc:Choice>
              <mc:Fallback>
                <p:oleObj name="think-cell Slide" r:id="rId3" imgW="592" imgH="595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Immagine 4">
            <a:extLst>
              <a:ext uri="{FF2B5EF4-FFF2-40B4-BE49-F238E27FC236}">
                <a16:creationId xmlns:a16="http://schemas.microsoft.com/office/drawing/2014/main" id="{F41A6E40-2A48-394F-A743-E06544DD4ED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2381"/>
            <a:ext cx="9144000" cy="5143500"/>
          </a:xfrm>
          <a:prstGeom prst="rect">
            <a:avLst/>
          </a:prstGeom>
        </p:spPr>
      </p:pic>
      <p:sp>
        <p:nvSpPr>
          <p:cNvPr id="14" name="Rectangle 13">
            <a:extLst>
              <a:ext uri="{FF2B5EF4-FFF2-40B4-BE49-F238E27FC236}">
                <a16:creationId xmlns:a16="http://schemas.microsoft.com/office/drawing/2014/main" id="{E1CC20A8-5FD7-4DEF-9850-516B562EDB9F}"/>
              </a:ext>
            </a:extLst>
          </p:cNvPr>
          <p:cNvSpPr/>
          <p:nvPr userDrawn="1"/>
        </p:nvSpPr>
        <p:spPr>
          <a:xfrm>
            <a:off x="0" y="469813"/>
            <a:ext cx="9144000" cy="43632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it-IT" noProof="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50200CC2-10FF-4180-9E60-9E9333E494BF}"/>
              </a:ext>
            </a:extLst>
          </p:cNvPr>
          <p:cNvSpPr/>
          <p:nvPr userDrawn="1"/>
        </p:nvSpPr>
        <p:spPr>
          <a:xfrm>
            <a:off x="0" y="5086569"/>
            <a:ext cx="9144000" cy="61694"/>
          </a:xfrm>
          <a:prstGeom prst="rect">
            <a:avLst/>
          </a:prstGeom>
          <a:solidFill>
            <a:srgbClr val="062E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Slide Number Placeholder 6">
            <a:extLst>
              <a:ext uri="{FF2B5EF4-FFF2-40B4-BE49-F238E27FC236}">
                <a16:creationId xmlns:a16="http://schemas.microsoft.com/office/drawing/2014/main" id="{5EB157B1-6F16-4A97-99F7-D1F5FB853FD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474392" y="227057"/>
            <a:ext cx="452438" cy="274097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  <a:latin typeface="+mn-lt"/>
              </a:defRPr>
            </a:lvl1pPr>
          </a:lstStyle>
          <a:p>
            <a:fld id="{7998DEE5-5424-45CB-8336-3215AFBD0173}" type="slidenum">
              <a:rPr lang="it-IT" smtClean="0"/>
              <a:pPr/>
              <a:t>‹N›</a:t>
            </a:fld>
            <a:endParaRPr lang="it-IT"/>
          </a:p>
        </p:txBody>
      </p: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75147" y="113188"/>
            <a:ext cx="8399245" cy="354165"/>
          </a:xfrm>
          <a:prstGeom prst="rect">
            <a:avLst/>
          </a:prstGeom>
        </p:spPr>
        <p:txBody>
          <a:bodyPr vert="horz" anchor="b">
            <a:noAutofit/>
          </a:bodyPr>
          <a:lstStyle>
            <a:lvl1pPr>
              <a:defRPr sz="1400" b="1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it-IT" noProof="0"/>
              <a:t>Fare clic per inserire il titolo</a:t>
            </a:r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12208" y="5000663"/>
            <a:ext cx="8672400" cy="147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b"/>
          <a:lstStyle>
            <a:lvl1pPr marL="0" indent="0">
              <a:spcBef>
                <a:spcPts val="0"/>
              </a:spcBef>
              <a:buNone/>
              <a:defRPr lang="en-US" sz="600" i="1" baseline="0" dirty="0">
                <a:solidFill>
                  <a:schemeClr val="bg1"/>
                </a:solidFill>
              </a:defRPr>
            </a:lvl1pPr>
          </a:lstStyle>
          <a:p>
            <a:pPr marL="0" lvl="0" defTabSz="457200"/>
            <a:r>
              <a:rPr lang="it-IT" noProof="0"/>
              <a:t>1. Fare clic per inserire una nota</a:t>
            </a:r>
          </a:p>
        </p:txBody>
      </p:sp>
    </p:spTree>
    <p:extLst>
      <p:ext uri="{BB962C8B-B14F-4D97-AF65-F5344CB8AC3E}">
        <p14:creationId xmlns:p14="http://schemas.microsoft.com/office/powerpoint/2010/main" val="277828882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>
  <p:cSld name="Two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bg object 17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8879770" y="8"/>
            <a:ext cx="264143" cy="5146317"/>
          </a:xfrm>
          <a:prstGeom prst="rect">
            <a:avLst/>
          </a:prstGeom>
        </p:spPr>
      </p:pic>
      <p:sp>
        <p:nvSpPr>
          <p:cNvPr id="26" name="bg object 26"/>
          <p:cNvSpPr/>
          <p:nvPr/>
        </p:nvSpPr>
        <p:spPr>
          <a:xfrm>
            <a:off x="7246059" y="310502"/>
            <a:ext cx="256342" cy="60517"/>
          </a:xfrm>
          <a:custGeom>
            <a:avLst/>
            <a:gdLst/>
            <a:ahLst/>
            <a:cxnLst/>
            <a:rect l="l" t="t" r="r" b="b"/>
            <a:pathLst>
              <a:path w="378459" h="88900">
                <a:moveTo>
                  <a:pt x="0" y="0"/>
                </a:moveTo>
                <a:lnTo>
                  <a:pt x="0" y="31229"/>
                </a:lnTo>
                <a:lnTo>
                  <a:pt x="32011" y="58153"/>
                </a:lnTo>
                <a:lnTo>
                  <a:pt x="62766" y="75469"/>
                </a:lnTo>
                <a:lnTo>
                  <a:pt x="94411" y="85061"/>
                </a:lnTo>
                <a:lnTo>
                  <a:pt x="129095" y="88811"/>
                </a:lnTo>
                <a:lnTo>
                  <a:pt x="378307" y="88811"/>
                </a:lnTo>
                <a:lnTo>
                  <a:pt x="378307" y="75272"/>
                </a:lnTo>
                <a:lnTo>
                  <a:pt x="143459" y="75272"/>
                </a:lnTo>
                <a:lnTo>
                  <a:pt x="106377" y="72112"/>
                </a:lnTo>
                <a:lnTo>
                  <a:pt x="69815" y="60715"/>
                </a:lnTo>
                <a:lnTo>
                  <a:pt x="34209" y="37778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sz="1219"/>
          </a:p>
        </p:txBody>
      </p:sp>
      <p:pic>
        <p:nvPicPr>
          <p:cNvPr id="27" name="bg object 27"/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7945332" y="171979"/>
            <a:ext cx="727170" cy="207659"/>
          </a:xfrm>
          <a:prstGeom prst="rect">
            <a:avLst/>
          </a:prstGeom>
        </p:spPr>
      </p:pic>
      <p:pic>
        <p:nvPicPr>
          <p:cNvPr id="29" name="bg object 29"/>
          <p:cNvPicPr/>
          <p:nvPr/>
        </p:nvPicPr>
        <p:blipFill>
          <a:blip r:embed="rId4" cstate="print"/>
          <a:stretch>
            <a:fillRect/>
          </a:stretch>
        </p:blipFill>
        <p:spPr>
          <a:xfrm>
            <a:off x="0" y="8"/>
            <a:ext cx="264161" cy="5146317"/>
          </a:xfrm>
          <a:prstGeom prst="rect">
            <a:avLst/>
          </a:prstGeom>
        </p:spPr>
      </p:pic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626" b="1" i="0">
                <a:solidFill>
                  <a:srgbClr val="960F16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457200" y="1184100"/>
            <a:ext cx="3977640" cy="29084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4709160" y="1184100"/>
            <a:ext cx="3977640" cy="29084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 smtClean="0"/>
              <a:t>9/18/2024</a:t>
            </a:fld>
            <a:endParaRPr lang="en-US"/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N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31557208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33053260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592" imgH="595" progId="TCLayout.ActiveDocument.1">
                  <p:embed/>
                </p:oleObj>
              </mc:Choice>
              <mc:Fallback>
                <p:oleObj name="think-cell Slide" r:id="rId9" imgW="592" imgH="595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73381535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1" r:id="rId1"/>
    <p:sldLayoutId id="2147483672" r:id="rId2"/>
    <p:sldLayoutId id="2147483673" r:id="rId3"/>
    <p:sldLayoutId id="2147483674" r:id="rId4"/>
    <p:sldLayoutId id="2147483675" r:id="rId5"/>
    <p:sldLayoutId id="2147483676" r:id="rId6"/>
  </p:sldLayoutIdLst>
  <p:hf hdr="0" ft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jpeg"/><Relationship Id="rId3" Type="http://schemas.openxmlformats.org/officeDocument/2006/relationships/oleObject" Target="../embeddings/oleObject8.bin"/><Relationship Id="rId7" Type="http://schemas.openxmlformats.org/officeDocument/2006/relationships/image" Target="../media/image11.pn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9.xml"/><Relationship Id="rId6" Type="http://schemas.openxmlformats.org/officeDocument/2006/relationships/image" Target="../media/image10.png"/><Relationship Id="rId5" Type="http://schemas.openxmlformats.org/officeDocument/2006/relationships/image" Target="../media/image9.png"/><Relationship Id="rId4" Type="http://schemas.openxmlformats.org/officeDocument/2006/relationships/image" Target="../media/image8.emf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13" Type="http://schemas.openxmlformats.org/officeDocument/2006/relationships/image" Target="../media/image19.png"/><Relationship Id="rId18" Type="http://schemas.openxmlformats.org/officeDocument/2006/relationships/image" Target="../media/image24.png"/><Relationship Id="rId3" Type="http://schemas.openxmlformats.org/officeDocument/2006/relationships/image" Target="../media/image13.png"/><Relationship Id="rId21" Type="http://schemas.openxmlformats.org/officeDocument/2006/relationships/image" Target="../media/image27.png"/><Relationship Id="rId7" Type="http://schemas.openxmlformats.org/officeDocument/2006/relationships/image" Target="../media/image8.emf"/><Relationship Id="rId12" Type="http://schemas.openxmlformats.org/officeDocument/2006/relationships/image" Target="../media/image18.png"/><Relationship Id="rId17" Type="http://schemas.openxmlformats.org/officeDocument/2006/relationships/image" Target="../media/image23.png"/><Relationship Id="rId2" Type="http://schemas.openxmlformats.org/officeDocument/2006/relationships/slideLayout" Target="../slideLayouts/slideLayout5.xml"/><Relationship Id="rId16" Type="http://schemas.openxmlformats.org/officeDocument/2006/relationships/image" Target="../media/image22.png"/><Relationship Id="rId20" Type="http://schemas.openxmlformats.org/officeDocument/2006/relationships/image" Target="../media/image26.png"/><Relationship Id="rId1" Type="http://schemas.openxmlformats.org/officeDocument/2006/relationships/tags" Target="../tags/tag10.xml"/><Relationship Id="rId6" Type="http://schemas.openxmlformats.org/officeDocument/2006/relationships/oleObject" Target="../embeddings/oleObject9.bin"/><Relationship Id="rId11" Type="http://schemas.openxmlformats.org/officeDocument/2006/relationships/image" Target="../media/image17.png"/><Relationship Id="rId5" Type="http://schemas.openxmlformats.org/officeDocument/2006/relationships/hyperlink" Target="https://pxhere.com/en/photo/920" TargetMode="External"/><Relationship Id="rId15" Type="http://schemas.openxmlformats.org/officeDocument/2006/relationships/image" Target="../media/image21.png"/><Relationship Id="rId23" Type="http://schemas.openxmlformats.org/officeDocument/2006/relationships/image" Target="../media/image29.png"/><Relationship Id="rId10" Type="http://schemas.openxmlformats.org/officeDocument/2006/relationships/image" Target="../media/image16.png"/><Relationship Id="rId19" Type="http://schemas.openxmlformats.org/officeDocument/2006/relationships/image" Target="../media/image25.png"/><Relationship Id="rId4" Type="http://schemas.microsoft.com/office/2007/relationships/hdphoto" Target="../media/hdphoto1.wdp"/><Relationship Id="rId9" Type="http://schemas.openxmlformats.org/officeDocument/2006/relationships/image" Target="../media/image15.png"/><Relationship Id="rId14" Type="http://schemas.openxmlformats.org/officeDocument/2006/relationships/image" Target="../media/image20.jpeg"/><Relationship Id="rId22" Type="http://schemas.openxmlformats.org/officeDocument/2006/relationships/image" Target="../media/image28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3.png"/><Relationship Id="rId3" Type="http://schemas.openxmlformats.org/officeDocument/2006/relationships/oleObject" Target="../embeddings/oleObject10.bin"/><Relationship Id="rId7" Type="http://schemas.openxmlformats.org/officeDocument/2006/relationships/image" Target="../media/image32.pn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1.xml"/><Relationship Id="rId6" Type="http://schemas.openxmlformats.org/officeDocument/2006/relationships/image" Target="../media/image31.png"/><Relationship Id="rId11" Type="http://schemas.openxmlformats.org/officeDocument/2006/relationships/image" Target="../media/image36.svg"/><Relationship Id="rId5" Type="http://schemas.openxmlformats.org/officeDocument/2006/relationships/image" Target="../media/image30.jpeg"/><Relationship Id="rId10" Type="http://schemas.openxmlformats.org/officeDocument/2006/relationships/image" Target="../media/image35.png"/><Relationship Id="rId4" Type="http://schemas.openxmlformats.org/officeDocument/2006/relationships/image" Target="../media/image8.emf"/><Relationship Id="rId9" Type="http://schemas.openxmlformats.org/officeDocument/2006/relationships/image" Target="../media/image34.sv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0.png"/><Relationship Id="rId13" Type="http://schemas.openxmlformats.org/officeDocument/2006/relationships/image" Target="../media/image45.svg"/><Relationship Id="rId3" Type="http://schemas.openxmlformats.org/officeDocument/2006/relationships/oleObject" Target="../embeddings/oleObject11.bin"/><Relationship Id="rId7" Type="http://schemas.openxmlformats.org/officeDocument/2006/relationships/image" Target="../media/image39.jpeg"/><Relationship Id="rId12" Type="http://schemas.openxmlformats.org/officeDocument/2006/relationships/image" Target="../media/image44.pn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2.xml"/><Relationship Id="rId6" Type="http://schemas.openxmlformats.org/officeDocument/2006/relationships/image" Target="../media/image38.png"/><Relationship Id="rId11" Type="http://schemas.openxmlformats.org/officeDocument/2006/relationships/image" Target="../media/image43.jpeg"/><Relationship Id="rId5" Type="http://schemas.openxmlformats.org/officeDocument/2006/relationships/image" Target="../media/image37.jpeg"/><Relationship Id="rId10" Type="http://schemas.openxmlformats.org/officeDocument/2006/relationships/image" Target="../media/image42.jpeg"/><Relationship Id="rId4" Type="http://schemas.openxmlformats.org/officeDocument/2006/relationships/image" Target="../media/image1.emf"/><Relationship Id="rId9" Type="http://schemas.openxmlformats.org/officeDocument/2006/relationships/image" Target="../media/image41.png"/><Relationship Id="rId14" Type="http://schemas.openxmlformats.org/officeDocument/2006/relationships/image" Target="../media/image12.jpe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9.jpeg"/><Relationship Id="rId3" Type="http://schemas.openxmlformats.org/officeDocument/2006/relationships/oleObject" Target="../embeddings/oleObject12.bin"/><Relationship Id="rId7" Type="http://schemas.openxmlformats.org/officeDocument/2006/relationships/image" Target="../media/image48.sv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3.xml"/><Relationship Id="rId6" Type="http://schemas.openxmlformats.org/officeDocument/2006/relationships/image" Target="../media/image47.png"/><Relationship Id="rId5" Type="http://schemas.openxmlformats.org/officeDocument/2006/relationships/image" Target="../media/image46.jpeg"/><Relationship Id="rId4" Type="http://schemas.openxmlformats.org/officeDocument/2006/relationships/image" Target="../media/image1.emf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8.png"/><Relationship Id="rId3" Type="http://schemas.openxmlformats.org/officeDocument/2006/relationships/oleObject" Target="../embeddings/oleObject13.bin"/><Relationship Id="rId7" Type="http://schemas.openxmlformats.org/officeDocument/2006/relationships/image" Target="../media/image51.png"/><Relationship Id="rId12" Type="http://schemas.openxmlformats.org/officeDocument/2006/relationships/image" Target="../media/image55.pn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4.xml"/><Relationship Id="rId6" Type="http://schemas.microsoft.com/office/2007/relationships/hdphoto" Target="../media/hdphoto2.wdp"/><Relationship Id="rId11" Type="http://schemas.openxmlformats.org/officeDocument/2006/relationships/image" Target="../media/image54.png"/><Relationship Id="rId5" Type="http://schemas.openxmlformats.org/officeDocument/2006/relationships/image" Target="../media/image50.png"/><Relationship Id="rId10" Type="http://schemas.openxmlformats.org/officeDocument/2006/relationships/image" Target="../media/image53.png"/><Relationship Id="rId4" Type="http://schemas.openxmlformats.org/officeDocument/2006/relationships/image" Target="../media/image1.emf"/><Relationship Id="rId9" Type="http://schemas.openxmlformats.org/officeDocument/2006/relationships/image" Target="../media/image52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59.png"/><Relationship Id="rId13" Type="http://schemas.openxmlformats.org/officeDocument/2006/relationships/image" Target="../media/image64.jpeg"/><Relationship Id="rId3" Type="http://schemas.openxmlformats.org/officeDocument/2006/relationships/oleObject" Target="../embeddings/oleObject14.bin"/><Relationship Id="rId7" Type="http://schemas.openxmlformats.org/officeDocument/2006/relationships/image" Target="../media/image58.svg"/><Relationship Id="rId12" Type="http://schemas.openxmlformats.org/officeDocument/2006/relationships/image" Target="../media/image63.pn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5.xml"/><Relationship Id="rId6" Type="http://schemas.openxmlformats.org/officeDocument/2006/relationships/image" Target="../media/image57.png"/><Relationship Id="rId11" Type="http://schemas.openxmlformats.org/officeDocument/2006/relationships/image" Target="../media/image62.png"/><Relationship Id="rId5" Type="http://schemas.openxmlformats.org/officeDocument/2006/relationships/image" Target="../media/image56.png"/><Relationship Id="rId10" Type="http://schemas.openxmlformats.org/officeDocument/2006/relationships/image" Target="../media/image61.jpeg"/><Relationship Id="rId4" Type="http://schemas.openxmlformats.org/officeDocument/2006/relationships/image" Target="../media/image8.emf"/><Relationship Id="rId9" Type="http://schemas.openxmlformats.org/officeDocument/2006/relationships/image" Target="../media/image60.sv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57.png"/><Relationship Id="rId3" Type="http://schemas.openxmlformats.org/officeDocument/2006/relationships/oleObject" Target="../embeddings/oleObject15.bin"/><Relationship Id="rId7" Type="http://schemas.openxmlformats.org/officeDocument/2006/relationships/image" Target="../media/image66.pn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6.xml"/><Relationship Id="rId6" Type="http://schemas.openxmlformats.org/officeDocument/2006/relationships/image" Target="../media/image65.png"/><Relationship Id="rId11" Type="http://schemas.openxmlformats.org/officeDocument/2006/relationships/image" Target="../media/image60.svg"/><Relationship Id="rId5" Type="http://schemas.openxmlformats.org/officeDocument/2006/relationships/image" Target="../media/image56.png"/><Relationship Id="rId10" Type="http://schemas.openxmlformats.org/officeDocument/2006/relationships/image" Target="../media/image59.png"/><Relationship Id="rId4" Type="http://schemas.openxmlformats.org/officeDocument/2006/relationships/image" Target="../media/image8.emf"/><Relationship Id="rId9" Type="http://schemas.openxmlformats.org/officeDocument/2006/relationships/image" Target="../media/image58.sv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880199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5" progId="TCLayout.ActiveDocument.1">
                  <p:embed/>
                </p:oleObj>
              </mc:Choice>
              <mc:Fallback>
                <p:oleObj name="think-cell Slide" r:id="rId4" imgW="592" imgH="59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olo 3">
            <a:extLst>
              <a:ext uri="{FF2B5EF4-FFF2-40B4-BE49-F238E27FC236}">
                <a16:creationId xmlns:a16="http://schemas.microsoft.com/office/drawing/2014/main" id="{FE4071DA-449C-4B1B-9C3C-EFA8CF4041C4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en-US" dirty="0" err="1"/>
              <a:t>UnipolTech</a:t>
            </a:r>
            <a:endParaRPr lang="en-US" dirty="0"/>
          </a:p>
        </p:txBody>
      </p:sp>
      <p:sp>
        <p:nvSpPr>
          <p:cNvPr id="5" name="Sottotitolo 4">
            <a:extLst>
              <a:ext uri="{FF2B5EF4-FFF2-40B4-BE49-F238E27FC236}">
                <a16:creationId xmlns:a16="http://schemas.microsoft.com/office/drawing/2014/main" id="{8FFFAF6B-7943-487E-B1C7-0DB472AA898D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Using data to plan urban mobility</a:t>
            </a:r>
          </a:p>
        </p:txBody>
      </p:sp>
      <p:sp>
        <p:nvSpPr>
          <p:cNvPr id="6" name="Segnaposto testo 5">
            <a:extLst>
              <a:ext uri="{FF2B5EF4-FFF2-40B4-BE49-F238E27FC236}">
                <a16:creationId xmlns:a16="http://schemas.microsoft.com/office/drawing/2014/main" id="{EDA87A72-AD86-47BB-AF92-0B23E6082BC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September 2024</a:t>
            </a:r>
          </a:p>
        </p:txBody>
      </p:sp>
    </p:spTree>
    <p:extLst>
      <p:ext uri="{BB962C8B-B14F-4D97-AF65-F5344CB8AC3E}">
        <p14:creationId xmlns:p14="http://schemas.microsoft.com/office/powerpoint/2010/main" val="54587511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3" name="think-cell data - do not delete" hidden="1">
            <a:extLst>
              <a:ext uri="{FF2B5EF4-FFF2-40B4-BE49-F238E27FC236}">
                <a16:creationId xmlns:a16="http://schemas.microsoft.com/office/drawing/2014/main" id="{3487FA6E-7E13-6797-A0DD-1FA6AD3AC52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735317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5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487FA6E-7E13-6797-A0DD-1FA6AD3AC5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4CC2683-2533-1B15-89C9-EB7B5C8538E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98DEE5-5424-45CB-8336-3215AFBD0173}" type="slidenum">
              <a:rPr lang="en-GB" smtClean="0"/>
              <a:pPr/>
              <a:t>2</a:t>
            </a:fld>
            <a:endParaRPr lang="en-GB" dirty="0"/>
          </a:p>
        </p:txBody>
      </p:sp>
      <p:sp>
        <p:nvSpPr>
          <p:cNvPr id="50" name="Title 49">
            <a:extLst>
              <a:ext uri="{FF2B5EF4-FFF2-40B4-BE49-F238E27FC236}">
                <a16:creationId xmlns:a16="http://schemas.microsoft.com/office/drawing/2014/main" id="{9F8D039F-855A-95BD-4CBD-B4B49E276E5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/>
              <a:t>UnipolTech is a 360-degree mobility partner</a:t>
            </a:r>
          </a:p>
        </p:txBody>
      </p:sp>
      <p:grpSp>
        <p:nvGrpSpPr>
          <p:cNvPr id="201" name="Group 200">
            <a:extLst>
              <a:ext uri="{FF2B5EF4-FFF2-40B4-BE49-F238E27FC236}">
                <a16:creationId xmlns:a16="http://schemas.microsoft.com/office/drawing/2014/main" id="{2A3DF89C-1FF4-DB3F-5002-573CF0D83231}"/>
              </a:ext>
            </a:extLst>
          </p:cNvPr>
          <p:cNvGrpSpPr/>
          <p:nvPr/>
        </p:nvGrpSpPr>
        <p:grpSpPr>
          <a:xfrm>
            <a:off x="2188976" y="476949"/>
            <a:ext cx="4766048" cy="1757748"/>
            <a:chOff x="2157993" y="476948"/>
            <a:chExt cx="4766048" cy="2674763"/>
          </a:xfrm>
        </p:grpSpPr>
        <p:pic>
          <p:nvPicPr>
            <p:cNvPr id="11" name="Picture 10">
              <a:extLst>
                <a:ext uri="{FF2B5EF4-FFF2-40B4-BE49-F238E27FC236}">
                  <a16:creationId xmlns:a16="http://schemas.microsoft.com/office/drawing/2014/main" id="{1FBC0757-3090-04D1-F77B-9C5AC2179A9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 cstate="print">
              <a:duotone>
                <a:schemeClr val="accent1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44593"/>
            <a:stretch/>
          </p:blipFill>
          <p:spPr>
            <a:xfrm rot="5400000">
              <a:off x="3378932" y="-332970"/>
              <a:ext cx="2297841" cy="3950573"/>
            </a:xfrm>
            <a:prstGeom prst="rect">
              <a:avLst/>
            </a:prstGeom>
            <a:effectLst>
              <a:softEdge rad="0"/>
            </a:effectLst>
          </p:spPr>
        </p:pic>
        <p:sp>
          <p:nvSpPr>
            <p:cNvPr id="154" name="Freeform: Shape 153">
              <a:extLst>
                <a:ext uri="{FF2B5EF4-FFF2-40B4-BE49-F238E27FC236}">
                  <a16:creationId xmlns:a16="http://schemas.microsoft.com/office/drawing/2014/main" id="{19BE9E01-B5F3-5852-42D2-973541A8224C}"/>
                </a:ext>
              </a:extLst>
            </p:cNvPr>
            <p:cNvSpPr/>
            <p:nvPr/>
          </p:nvSpPr>
          <p:spPr>
            <a:xfrm>
              <a:off x="2157993" y="476948"/>
              <a:ext cx="4766048" cy="2674763"/>
            </a:xfrm>
            <a:custGeom>
              <a:avLst/>
              <a:gdLst>
                <a:gd name="connsiteX0" fmla="*/ 299647 w 3427456"/>
                <a:gd name="connsiteY0" fmla="*/ 0 h 2674763"/>
                <a:gd name="connsiteX1" fmla="*/ 3127810 w 3427456"/>
                <a:gd name="connsiteY1" fmla="*/ 0 h 2674763"/>
                <a:gd name="connsiteX2" fmla="*/ 3134779 w 3427456"/>
                <a:gd name="connsiteY2" fmla="*/ 9297 h 2674763"/>
                <a:gd name="connsiteX3" fmla="*/ 3427456 w 3427456"/>
                <a:gd name="connsiteY3" fmla="*/ 965155 h 2674763"/>
                <a:gd name="connsiteX4" fmla="*/ 1713728 w 3427456"/>
                <a:gd name="connsiteY4" fmla="*/ 2674763 h 2674763"/>
                <a:gd name="connsiteX5" fmla="*/ 0 w 3427456"/>
                <a:gd name="connsiteY5" fmla="*/ 965155 h 2674763"/>
                <a:gd name="connsiteX6" fmla="*/ 292678 w 3427456"/>
                <a:gd name="connsiteY6" fmla="*/ 9297 h 26747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427456" h="2674763">
                  <a:moveTo>
                    <a:pt x="299647" y="0"/>
                  </a:moveTo>
                  <a:lnTo>
                    <a:pt x="3127810" y="0"/>
                  </a:lnTo>
                  <a:lnTo>
                    <a:pt x="3134779" y="9297"/>
                  </a:lnTo>
                  <a:cubicBezTo>
                    <a:pt x="3319560" y="282152"/>
                    <a:pt x="3427456" y="611084"/>
                    <a:pt x="3427456" y="965155"/>
                  </a:cubicBezTo>
                  <a:cubicBezTo>
                    <a:pt x="3427456" y="1909345"/>
                    <a:pt x="2660194" y="2674763"/>
                    <a:pt x="1713728" y="2674763"/>
                  </a:cubicBezTo>
                  <a:cubicBezTo>
                    <a:pt x="767262" y="2674763"/>
                    <a:pt x="0" y="1909345"/>
                    <a:pt x="0" y="965155"/>
                  </a:cubicBezTo>
                  <a:cubicBezTo>
                    <a:pt x="0" y="611084"/>
                    <a:pt x="107896" y="282152"/>
                    <a:pt x="292678" y="9297"/>
                  </a:cubicBezTo>
                  <a:close/>
                </a:path>
              </a:pathLst>
            </a:custGeom>
            <a:solidFill>
              <a:schemeClr val="bg1">
                <a:alpha val="67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it-IT" dirty="0"/>
            </a:p>
          </p:txBody>
        </p:sp>
      </p:grpSp>
      <p:pic>
        <p:nvPicPr>
          <p:cNvPr id="81" name="Picture 5" descr="Unipol Tech">
            <a:extLst>
              <a:ext uri="{FF2B5EF4-FFF2-40B4-BE49-F238E27FC236}">
                <a16:creationId xmlns:a16="http://schemas.microsoft.com/office/drawing/2014/main" id="{AF282D41-1DC5-A5F4-5544-92A4E362E97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415138" y="721880"/>
            <a:ext cx="2453564" cy="5047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9" name="Freeform 26">
            <a:extLst>
              <a:ext uri="{FF2B5EF4-FFF2-40B4-BE49-F238E27FC236}">
                <a16:creationId xmlns:a16="http://schemas.microsoft.com/office/drawing/2014/main" id="{43B8B6CE-BA26-E34D-C8E5-D14393DE0F89}"/>
              </a:ext>
            </a:extLst>
          </p:cNvPr>
          <p:cNvSpPr>
            <a:spLocks noEditPoints="1"/>
          </p:cNvSpPr>
          <p:nvPr/>
        </p:nvSpPr>
        <p:spPr bwMode="auto">
          <a:xfrm>
            <a:off x="322755" y="1487821"/>
            <a:ext cx="1964171" cy="830672"/>
          </a:xfrm>
          <a:custGeom>
            <a:avLst/>
            <a:gdLst>
              <a:gd name="T0" fmla="*/ 2147483646 w 202"/>
              <a:gd name="T1" fmla="*/ 2147483646 h 184"/>
              <a:gd name="T2" fmla="*/ 2147483646 w 202"/>
              <a:gd name="T3" fmla="*/ 2147483646 h 184"/>
              <a:gd name="T4" fmla="*/ 2147483646 w 202"/>
              <a:gd name="T5" fmla="*/ 2147483646 h 184"/>
              <a:gd name="T6" fmla="*/ 2147483646 w 202"/>
              <a:gd name="T7" fmla="*/ 2147483646 h 184"/>
              <a:gd name="T8" fmla="*/ 2147483646 w 202"/>
              <a:gd name="T9" fmla="*/ 2147483646 h 184"/>
              <a:gd name="T10" fmla="*/ 2147483646 w 202"/>
              <a:gd name="T11" fmla="*/ 2147483646 h 184"/>
              <a:gd name="T12" fmla="*/ 2147483646 w 202"/>
              <a:gd name="T13" fmla="*/ 2147483646 h 184"/>
              <a:gd name="T14" fmla="*/ 2147483646 w 202"/>
              <a:gd name="T15" fmla="*/ 2147483646 h 184"/>
              <a:gd name="T16" fmla="*/ 2147483646 w 202"/>
              <a:gd name="T17" fmla="*/ 2147483646 h 184"/>
              <a:gd name="T18" fmla="*/ 2147483646 w 202"/>
              <a:gd name="T19" fmla="*/ 2147483646 h 184"/>
              <a:gd name="T20" fmla="*/ 2147483646 w 202"/>
              <a:gd name="T21" fmla="*/ 2147483646 h 184"/>
              <a:gd name="T22" fmla="*/ 2147483646 w 202"/>
              <a:gd name="T23" fmla="*/ 2147483646 h 184"/>
              <a:gd name="T24" fmla="*/ 2147483646 w 202"/>
              <a:gd name="T25" fmla="*/ 2147483646 h 184"/>
              <a:gd name="T26" fmla="*/ 2147483646 w 202"/>
              <a:gd name="T27" fmla="*/ 2147483646 h 184"/>
              <a:gd name="T28" fmla="*/ 2147483646 w 202"/>
              <a:gd name="T29" fmla="*/ 2147483646 h 184"/>
              <a:gd name="T30" fmla="*/ 2147483646 w 202"/>
              <a:gd name="T31" fmla="*/ 2147483646 h 184"/>
              <a:gd name="T32" fmla="*/ 2147483646 w 202"/>
              <a:gd name="T33" fmla="*/ 2147483646 h 184"/>
              <a:gd name="T34" fmla="*/ 2147483646 w 202"/>
              <a:gd name="T35" fmla="*/ 2147483646 h 184"/>
              <a:gd name="T36" fmla="*/ 2147483646 w 202"/>
              <a:gd name="T37" fmla="*/ 2147483646 h 184"/>
              <a:gd name="T38" fmla="*/ 2147483646 w 202"/>
              <a:gd name="T39" fmla="*/ 2147483646 h 184"/>
              <a:gd name="T40" fmla="*/ 2147483646 w 202"/>
              <a:gd name="T41" fmla="*/ 2147483646 h 184"/>
              <a:gd name="T42" fmla="*/ 2147483646 w 202"/>
              <a:gd name="T43" fmla="*/ 2147483646 h 184"/>
              <a:gd name="T44" fmla="*/ 2147483646 w 202"/>
              <a:gd name="T45" fmla="*/ 2147483646 h 184"/>
              <a:gd name="T46" fmla="*/ 2147483646 w 202"/>
              <a:gd name="T47" fmla="*/ 2147483646 h 184"/>
              <a:gd name="T48" fmla="*/ 2147483646 w 202"/>
              <a:gd name="T49" fmla="*/ 2147483646 h 184"/>
              <a:gd name="T50" fmla="*/ 2147483646 w 202"/>
              <a:gd name="T51" fmla="*/ 2147483646 h 184"/>
              <a:gd name="T52" fmla="*/ 2147483646 w 202"/>
              <a:gd name="T53" fmla="*/ 2147483646 h 184"/>
              <a:gd name="T54" fmla="*/ 2147483646 w 202"/>
              <a:gd name="T55" fmla="*/ 2147483646 h 184"/>
              <a:gd name="T56" fmla="*/ 2147483646 w 202"/>
              <a:gd name="T57" fmla="*/ 2147483646 h 184"/>
              <a:gd name="T58" fmla="*/ 2147483646 w 202"/>
              <a:gd name="T59" fmla="*/ 2147483646 h 184"/>
              <a:gd name="T60" fmla="*/ 2147483646 w 202"/>
              <a:gd name="T61" fmla="*/ 2147483646 h 184"/>
              <a:gd name="T62" fmla="*/ 2147483646 w 202"/>
              <a:gd name="T63" fmla="*/ 2147483646 h 184"/>
              <a:gd name="T64" fmla="*/ 2147483646 w 202"/>
              <a:gd name="T65" fmla="*/ 2147483646 h 184"/>
              <a:gd name="T66" fmla="*/ 2147483646 w 202"/>
              <a:gd name="T67" fmla="*/ 2147483646 h 184"/>
              <a:gd name="T68" fmla="*/ 2147483646 w 202"/>
              <a:gd name="T69" fmla="*/ 2147483646 h 184"/>
              <a:gd name="T70" fmla="*/ 2147483646 w 202"/>
              <a:gd name="T71" fmla="*/ 2147483646 h 184"/>
              <a:gd name="T72" fmla="*/ 2147483646 w 202"/>
              <a:gd name="T73" fmla="*/ 2147483646 h 184"/>
              <a:gd name="T74" fmla="*/ 2147483646 w 202"/>
              <a:gd name="T75" fmla="*/ 2147483646 h 184"/>
              <a:gd name="T76" fmla="*/ 2147483646 w 202"/>
              <a:gd name="T77" fmla="*/ 2147483646 h 184"/>
              <a:gd name="T78" fmla="*/ 2147483646 w 202"/>
              <a:gd name="T79" fmla="*/ 2147483646 h 184"/>
              <a:gd name="T80" fmla="*/ 2147483646 w 202"/>
              <a:gd name="T81" fmla="*/ 2147483646 h 184"/>
              <a:gd name="T82" fmla="*/ 2147483646 w 202"/>
              <a:gd name="T83" fmla="*/ 2147483646 h 184"/>
              <a:gd name="T84" fmla="*/ 2147483646 w 202"/>
              <a:gd name="T85" fmla="*/ 2147483646 h 184"/>
              <a:gd name="T86" fmla="*/ 2147483646 w 202"/>
              <a:gd name="T87" fmla="*/ 2147483646 h 184"/>
              <a:gd name="T88" fmla="*/ 2147483646 w 202"/>
              <a:gd name="T89" fmla="*/ 2147483646 h 184"/>
              <a:gd name="T90" fmla="*/ 2147483646 w 202"/>
              <a:gd name="T91" fmla="*/ 2147483646 h 184"/>
              <a:gd name="T92" fmla="*/ 2147483646 w 202"/>
              <a:gd name="T93" fmla="*/ 2147483646 h 184"/>
              <a:gd name="T94" fmla="*/ 2147483646 w 202"/>
              <a:gd name="T95" fmla="*/ 2147483646 h 184"/>
              <a:gd name="T96" fmla="*/ 2147483646 w 202"/>
              <a:gd name="T97" fmla="*/ 2147483646 h 184"/>
              <a:gd name="T98" fmla="*/ 2147483646 w 202"/>
              <a:gd name="T99" fmla="*/ 2147483646 h 184"/>
              <a:gd name="T100" fmla="*/ 2147483646 w 202"/>
              <a:gd name="T101" fmla="*/ 2147483646 h 184"/>
              <a:gd name="T102" fmla="*/ 2147483646 w 202"/>
              <a:gd name="T103" fmla="*/ 2147483646 h 184"/>
              <a:gd name="T104" fmla="*/ 2147483646 w 202"/>
              <a:gd name="T105" fmla="*/ 2147483646 h 184"/>
              <a:gd name="T106" fmla="*/ 2147483646 w 202"/>
              <a:gd name="T107" fmla="*/ 2147483646 h 184"/>
              <a:gd name="T108" fmla="*/ 2147483646 w 202"/>
              <a:gd name="T109" fmla="*/ 2147483646 h 184"/>
              <a:gd name="T110" fmla="*/ 2147483646 w 202"/>
              <a:gd name="T111" fmla="*/ 2147483646 h 184"/>
              <a:gd name="T112" fmla="*/ 2147483646 w 202"/>
              <a:gd name="T113" fmla="*/ 2147483646 h 184"/>
              <a:gd name="T114" fmla="*/ 2147483646 w 202"/>
              <a:gd name="T115" fmla="*/ 2147483646 h 184"/>
              <a:gd name="T116" fmla="*/ 2147483646 w 202"/>
              <a:gd name="T117" fmla="*/ 2147483646 h 184"/>
              <a:gd name="T118" fmla="*/ 2147483646 w 202"/>
              <a:gd name="T119" fmla="*/ 2147483646 h 184"/>
              <a:gd name="T120" fmla="*/ 2147483646 w 202"/>
              <a:gd name="T121" fmla="*/ 2147483646 h 184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w 202"/>
              <a:gd name="T184" fmla="*/ 0 h 184"/>
              <a:gd name="T185" fmla="*/ 202 w 202"/>
              <a:gd name="T186" fmla="*/ 184 h 184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T183" t="T184" r="T185" b="T186"/>
            <a:pathLst>
              <a:path w="202" h="184">
                <a:moveTo>
                  <a:pt x="126" y="177"/>
                </a:moveTo>
                <a:cubicBezTo>
                  <a:pt x="124" y="177"/>
                  <a:pt x="123" y="179"/>
                  <a:pt x="121" y="178"/>
                </a:cubicBezTo>
                <a:cubicBezTo>
                  <a:pt x="119" y="176"/>
                  <a:pt x="118" y="175"/>
                  <a:pt x="119" y="173"/>
                </a:cubicBezTo>
                <a:cubicBezTo>
                  <a:pt x="118" y="174"/>
                  <a:pt x="117" y="174"/>
                  <a:pt x="116" y="174"/>
                </a:cubicBezTo>
                <a:cubicBezTo>
                  <a:pt x="114" y="175"/>
                  <a:pt x="112" y="177"/>
                  <a:pt x="111" y="178"/>
                </a:cubicBezTo>
                <a:cubicBezTo>
                  <a:pt x="107" y="179"/>
                  <a:pt x="107" y="179"/>
                  <a:pt x="104" y="177"/>
                </a:cubicBezTo>
                <a:cubicBezTo>
                  <a:pt x="102" y="178"/>
                  <a:pt x="101" y="178"/>
                  <a:pt x="98" y="178"/>
                </a:cubicBezTo>
                <a:cubicBezTo>
                  <a:pt x="97" y="177"/>
                  <a:pt x="96" y="178"/>
                  <a:pt x="95" y="179"/>
                </a:cubicBezTo>
                <a:cubicBezTo>
                  <a:pt x="93" y="179"/>
                  <a:pt x="91" y="180"/>
                  <a:pt x="89" y="181"/>
                </a:cubicBezTo>
                <a:cubicBezTo>
                  <a:pt x="88" y="181"/>
                  <a:pt x="87" y="182"/>
                  <a:pt x="86" y="180"/>
                </a:cubicBezTo>
                <a:cubicBezTo>
                  <a:pt x="86" y="179"/>
                  <a:pt x="85" y="179"/>
                  <a:pt x="85" y="178"/>
                </a:cubicBezTo>
                <a:cubicBezTo>
                  <a:pt x="85" y="177"/>
                  <a:pt x="85" y="177"/>
                  <a:pt x="85" y="176"/>
                </a:cubicBezTo>
                <a:cubicBezTo>
                  <a:pt x="86" y="175"/>
                  <a:pt x="87" y="174"/>
                  <a:pt x="88" y="173"/>
                </a:cubicBezTo>
                <a:cubicBezTo>
                  <a:pt x="88" y="173"/>
                  <a:pt x="88" y="173"/>
                  <a:pt x="88" y="173"/>
                </a:cubicBezTo>
                <a:cubicBezTo>
                  <a:pt x="86" y="171"/>
                  <a:pt x="84" y="172"/>
                  <a:pt x="83" y="173"/>
                </a:cubicBezTo>
                <a:cubicBezTo>
                  <a:pt x="80" y="176"/>
                  <a:pt x="78" y="174"/>
                  <a:pt x="77" y="171"/>
                </a:cubicBezTo>
                <a:cubicBezTo>
                  <a:pt x="74" y="172"/>
                  <a:pt x="70" y="173"/>
                  <a:pt x="68" y="175"/>
                </a:cubicBezTo>
                <a:cubicBezTo>
                  <a:pt x="66" y="176"/>
                  <a:pt x="65" y="177"/>
                  <a:pt x="64" y="177"/>
                </a:cubicBezTo>
                <a:cubicBezTo>
                  <a:pt x="63" y="178"/>
                  <a:pt x="62" y="177"/>
                  <a:pt x="61" y="176"/>
                </a:cubicBezTo>
                <a:cubicBezTo>
                  <a:pt x="61" y="176"/>
                  <a:pt x="61" y="175"/>
                  <a:pt x="60" y="174"/>
                </a:cubicBezTo>
                <a:cubicBezTo>
                  <a:pt x="58" y="175"/>
                  <a:pt x="57" y="176"/>
                  <a:pt x="55" y="177"/>
                </a:cubicBezTo>
                <a:cubicBezTo>
                  <a:pt x="54" y="179"/>
                  <a:pt x="52" y="180"/>
                  <a:pt x="51" y="181"/>
                </a:cubicBezTo>
                <a:cubicBezTo>
                  <a:pt x="49" y="183"/>
                  <a:pt x="46" y="182"/>
                  <a:pt x="46" y="179"/>
                </a:cubicBezTo>
                <a:cubicBezTo>
                  <a:pt x="46" y="178"/>
                  <a:pt x="46" y="178"/>
                  <a:pt x="46" y="177"/>
                </a:cubicBezTo>
                <a:cubicBezTo>
                  <a:pt x="44" y="179"/>
                  <a:pt x="42" y="180"/>
                  <a:pt x="41" y="181"/>
                </a:cubicBezTo>
                <a:cubicBezTo>
                  <a:pt x="39" y="182"/>
                  <a:pt x="38" y="183"/>
                  <a:pt x="37" y="184"/>
                </a:cubicBezTo>
                <a:cubicBezTo>
                  <a:pt x="36" y="184"/>
                  <a:pt x="35" y="184"/>
                  <a:pt x="34" y="183"/>
                </a:cubicBezTo>
                <a:cubicBezTo>
                  <a:pt x="32" y="182"/>
                  <a:pt x="32" y="179"/>
                  <a:pt x="34" y="177"/>
                </a:cubicBezTo>
                <a:cubicBezTo>
                  <a:pt x="34" y="177"/>
                  <a:pt x="35" y="176"/>
                  <a:pt x="35" y="176"/>
                </a:cubicBezTo>
                <a:cubicBezTo>
                  <a:pt x="35" y="176"/>
                  <a:pt x="35" y="176"/>
                  <a:pt x="35" y="176"/>
                </a:cubicBezTo>
                <a:cubicBezTo>
                  <a:pt x="34" y="176"/>
                  <a:pt x="33" y="177"/>
                  <a:pt x="32" y="178"/>
                </a:cubicBezTo>
                <a:cubicBezTo>
                  <a:pt x="31" y="179"/>
                  <a:pt x="30" y="180"/>
                  <a:pt x="28" y="180"/>
                </a:cubicBezTo>
                <a:cubicBezTo>
                  <a:pt x="27" y="181"/>
                  <a:pt x="26" y="181"/>
                  <a:pt x="25" y="180"/>
                </a:cubicBezTo>
                <a:cubicBezTo>
                  <a:pt x="24" y="178"/>
                  <a:pt x="23" y="178"/>
                  <a:pt x="24" y="176"/>
                </a:cubicBezTo>
                <a:cubicBezTo>
                  <a:pt x="22" y="177"/>
                  <a:pt x="21" y="178"/>
                  <a:pt x="20" y="179"/>
                </a:cubicBezTo>
                <a:cubicBezTo>
                  <a:pt x="19" y="180"/>
                  <a:pt x="17" y="180"/>
                  <a:pt x="16" y="179"/>
                </a:cubicBezTo>
                <a:cubicBezTo>
                  <a:pt x="16" y="179"/>
                  <a:pt x="15" y="178"/>
                  <a:pt x="15" y="178"/>
                </a:cubicBezTo>
                <a:cubicBezTo>
                  <a:pt x="14" y="177"/>
                  <a:pt x="14" y="176"/>
                  <a:pt x="15" y="174"/>
                </a:cubicBezTo>
                <a:cubicBezTo>
                  <a:pt x="12" y="174"/>
                  <a:pt x="10" y="172"/>
                  <a:pt x="11" y="171"/>
                </a:cubicBezTo>
                <a:cubicBezTo>
                  <a:pt x="11" y="169"/>
                  <a:pt x="13" y="167"/>
                  <a:pt x="13" y="166"/>
                </a:cubicBezTo>
                <a:cubicBezTo>
                  <a:pt x="12" y="164"/>
                  <a:pt x="11" y="163"/>
                  <a:pt x="9" y="161"/>
                </a:cubicBezTo>
                <a:cubicBezTo>
                  <a:pt x="12" y="157"/>
                  <a:pt x="16" y="154"/>
                  <a:pt x="18" y="149"/>
                </a:cubicBezTo>
                <a:cubicBezTo>
                  <a:pt x="18" y="149"/>
                  <a:pt x="18" y="149"/>
                  <a:pt x="18" y="149"/>
                </a:cubicBezTo>
                <a:cubicBezTo>
                  <a:pt x="17" y="149"/>
                  <a:pt x="17" y="150"/>
                  <a:pt x="16" y="151"/>
                </a:cubicBezTo>
                <a:cubicBezTo>
                  <a:pt x="14" y="152"/>
                  <a:pt x="12" y="151"/>
                  <a:pt x="11" y="149"/>
                </a:cubicBezTo>
                <a:cubicBezTo>
                  <a:pt x="10" y="148"/>
                  <a:pt x="11" y="147"/>
                  <a:pt x="12" y="146"/>
                </a:cubicBezTo>
                <a:cubicBezTo>
                  <a:pt x="14" y="143"/>
                  <a:pt x="16" y="140"/>
                  <a:pt x="18" y="137"/>
                </a:cubicBezTo>
                <a:cubicBezTo>
                  <a:pt x="17" y="138"/>
                  <a:pt x="15" y="139"/>
                  <a:pt x="14" y="140"/>
                </a:cubicBezTo>
                <a:cubicBezTo>
                  <a:pt x="12" y="141"/>
                  <a:pt x="10" y="141"/>
                  <a:pt x="9" y="140"/>
                </a:cubicBezTo>
                <a:cubicBezTo>
                  <a:pt x="8" y="139"/>
                  <a:pt x="7" y="137"/>
                  <a:pt x="8" y="135"/>
                </a:cubicBezTo>
                <a:cubicBezTo>
                  <a:pt x="9" y="133"/>
                  <a:pt x="11" y="131"/>
                  <a:pt x="12" y="129"/>
                </a:cubicBezTo>
                <a:cubicBezTo>
                  <a:pt x="12" y="128"/>
                  <a:pt x="13" y="128"/>
                  <a:pt x="13" y="128"/>
                </a:cubicBezTo>
                <a:cubicBezTo>
                  <a:pt x="10" y="128"/>
                  <a:pt x="8" y="126"/>
                  <a:pt x="8" y="124"/>
                </a:cubicBezTo>
                <a:cubicBezTo>
                  <a:pt x="8" y="123"/>
                  <a:pt x="9" y="122"/>
                  <a:pt x="9" y="121"/>
                </a:cubicBezTo>
                <a:cubicBezTo>
                  <a:pt x="10" y="120"/>
                  <a:pt x="12" y="118"/>
                  <a:pt x="13" y="116"/>
                </a:cubicBezTo>
                <a:cubicBezTo>
                  <a:pt x="12" y="116"/>
                  <a:pt x="12" y="116"/>
                  <a:pt x="11" y="116"/>
                </a:cubicBezTo>
                <a:cubicBezTo>
                  <a:pt x="9" y="117"/>
                  <a:pt x="7" y="115"/>
                  <a:pt x="7" y="113"/>
                </a:cubicBezTo>
                <a:cubicBezTo>
                  <a:pt x="7" y="112"/>
                  <a:pt x="7" y="111"/>
                  <a:pt x="8" y="110"/>
                </a:cubicBezTo>
                <a:cubicBezTo>
                  <a:pt x="9" y="108"/>
                  <a:pt x="11" y="106"/>
                  <a:pt x="13" y="104"/>
                </a:cubicBezTo>
                <a:cubicBezTo>
                  <a:pt x="11" y="104"/>
                  <a:pt x="9" y="106"/>
                  <a:pt x="7" y="104"/>
                </a:cubicBezTo>
                <a:cubicBezTo>
                  <a:pt x="6" y="104"/>
                  <a:pt x="6" y="102"/>
                  <a:pt x="5" y="101"/>
                </a:cubicBezTo>
                <a:cubicBezTo>
                  <a:pt x="7" y="99"/>
                  <a:pt x="8" y="98"/>
                  <a:pt x="9" y="96"/>
                </a:cubicBezTo>
                <a:cubicBezTo>
                  <a:pt x="8" y="95"/>
                  <a:pt x="8" y="94"/>
                  <a:pt x="7" y="92"/>
                </a:cubicBezTo>
                <a:cubicBezTo>
                  <a:pt x="7" y="92"/>
                  <a:pt x="6" y="92"/>
                  <a:pt x="6" y="92"/>
                </a:cubicBezTo>
                <a:cubicBezTo>
                  <a:pt x="4" y="91"/>
                  <a:pt x="3" y="88"/>
                  <a:pt x="4" y="86"/>
                </a:cubicBezTo>
                <a:cubicBezTo>
                  <a:pt x="4" y="86"/>
                  <a:pt x="5" y="86"/>
                  <a:pt x="5" y="85"/>
                </a:cubicBezTo>
                <a:cubicBezTo>
                  <a:pt x="6" y="85"/>
                  <a:pt x="6" y="84"/>
                  <a:pt x="5" y="83"/>
                </a:cubicBezTo>
                <a:cubicBezTo>
                  <a:pt x="4" y="82"/>
                  <a:pt x="4" y="81"/>
                  <a:pt x="5" y="79"/>
                </a:cubicBezTo>
                <a:cubicBezTo>
                  <a:pt x="6" y="77"/>
                  <a:pt x="7" y="76"/>
                  <a:pt x="8" y="74"/>
                </a:cubicBezTo>
                <a:cubicBezTo>
                  <a:pt x="9" y="74"/>
                  <a:pt x="8" y="73"/>
                  <a:pt x="8" y="73"/>
                </a:cubicBezTo>
                <a:cubicBezTo>
                  <a:pt x="5" y="70"/>
                  <a:pt x="6" y="69"/>
                  <a:pt x="8" y="67"/>
                </a:cubicBezTo>
                <a:cubicBezTo>
                  <a:pt x="9" y="66"/>
                  <a:pt x="9" y="65"/>
                  <a:pt x="8" y="65"/>
                </a:cubicBezTo>
                <a:cubicBezTo>
                  <a:pt x="6" y="62"/>
                  <a:pt x="6" y="63"/>
                  <a:pt x="8" y="60"/>
                </a:cubicBezTo>
                <a:cubicBezTo>
                  <a:pt x="10" y="57"/>
                  <a:pt x="12" y="55"/>
                  <a:pt x="14" y="53"/>
                </a:cubicBezTo>
                <a:cubicBezTo>
                  <a:pt x="14" y="52"/>
                  <a:pt x="14" y="52"/>
                  <a:pt x="14" y="52"/>
                </a:cubicBezTo>
                <a:cubicBezTo>
                  <a:pt x="13" y="53"/>
                  <a:pt x="12" y="54"/>
                  <a:pt x="11" y="54"/>
                </a:cubicBezTo>
                <a:cubicBezTo>
                  <a:pt x="10" y="56"/>
                  <a:pt x="8" y="58"/>
                  <a:pt x="6" y="60"/>
                </a:cubicBezTo>
                <a:cubicBezTo>
                  <a:pt x="5" y="62"/>
                  <a:pt x="3" y="62"/>
                  <a:pt x="2" y="60"/>
                </a:cubicBezTo>
                <a:cubicBezTo>
                  <a:pt x="0" y="57"/>
                  <a:pt x="2" y="55"/>
                  <a:pt x="3" y="54"/>
                </a:cubicBezTo>
                <a:cubicBezTo>
                  <a:pt x="6" y="50"/>
                  <a:pt x="10" y="47"/>
                  <a:pt x="13" y="43"/>
                </a:cubicBezTo>
                <a:cubicBezTo>
                  <a:pt x="11" y="44"/>
                  <a:pt x="8" y="42"/>
                  <a:pt x="8" y="39"/>
                </a:cubicBezTo>
                <a:cubicBezTo>
                  <a:pt x="8" y="38"/>
                  <a:pt x="8" y="37"/>
                  <a:pt x="9" y="37"/>
                </a:cubicBezTo>
                <a:cubicBezTo>
                  <a:pt x="10" y="37"/>
                  <a:pt x="11" y="36"/>
                  <a:pt x="11" y="35"/>
                </a:cubicBezTo>
                <a:cubicBezTo>
                  <a:pt x="10" y="34"/>
                  <a:pt x="10" y="32"/>
                  <a:pt x="9" y="31"/>
                </a:cubicBezTo>
                <a:cubicBezTo>
                  <a:pt x="9" y="30"/>
                  <a:pt x="9" y="29"/>
                  <a:pt x="10" y="29"/>
                </a:cubicBezTo>
                <a:cubicBezTo>
                  <a:pt x="11" y="28"/>
                  <a:pt x="13" y="27"/>
                  <a:pt x="14" y="25"/>
                </a:cubicBezTo>
                <a:cubicBezTo>
                  <a:pt x="14" y="25"/>
                  <a:pt x="15" y="24"/>
                  <a:pt x="15" y="24"/>
                </a:cubicBezTo>
                <a:cubicBezTo>
                  <a:pt x="14" y="23"/>
                  <a:pt x="15" y="22"/>
                  <a:pt x="14" y="21"/>
                </a:cubicBezTo>
                <a:cubicBezTo>
                  <a:pt x="13" y="21"/>
                  <a:pt x="13" y="19"/>
                  <a:pt x="14" y="19"/>
                </a:cubicBezTo>
                <a:cubicBezTo>
                  <a:pt x="15" y="17"/>
                  <a:pt x="16" y="16"/>
                  <a:pt x="18" y="14"/>
                </a:cubicBezTo>
                <a:cubicBezTo>
                  <a:pt x="18" y="14"/>
                  <a:pt x="19" y="13"/>
                  <a:pt x="20" y="12"/>
                </a:cubicBezTo>
                <a:cubicBezTo>
                  <a:pt x="21" y="11"/>
                  <a:pt x="22" y="11"/>
                  <a:pt x="23" y="12"/>
                </a:cubicBezTo>
                <a:cubicBezTo>
                  <a:pt x="24" y="13"/>
                  <a:pt x="26" y="13"/>
                  <a:pt x="27" y="13"/>
                </a:cubicBezTo>
                <a:cubicBezTo>
                  <a:pt x="28" y="13"/>
                  <a:pt x="28" y="13"/>
                  <a:pt x="29" y="14"/>
                </a:cubicBezTo>
                <a:cubicBezTo>
                  <a:pt x="30" y="14"/>
                  <a:pt x="30" y="14"/>
                  <a:pt x="31" y="14"/>
                </a:cubicBezTo>
                <a:cubicBezTo>
                  <a:pt x="33" y="12"/>
                  <a:pt x="35" y="10"/>
                  <a:pt x="37" y="8"/>
                </a:cubicBezTo>
                <a:cubicBezTo>
                  <a:pt x="38" y="8"/>
                  <a:pt x="38" y="8"/>
                  <a:pt x="38" y="8"/>
                </a:cubicBezTo>
                <a:cubicBezTo>
                  <a:pt x="40" y="7"/>
                  <a:pt x="43" y="10"/>
                  <a:pt x="43" y="12"/>
                </a:cubicBezTo>
                <a:cubicBezTo>
                  <a:pt x="46" y="10"/>
                  <a:pt x="49" y="8"/>
                  <a:pt x="52" y="5"/>
                </a:cubicBezTo>
                <a:cubicBezTo>
                  <a:pt x="54" y="3"/>
                  <a:pt x="57" y="4"/>
                  <a:pt x="58" y="7"/>
                </a:cubicBezTo>
                <a:cubicBezTo>
                  <a:pt x="58" y="7"/>
                  <a:pt x="58" y="8"/>
                  <a:pt x="58" y="9"/>
                </a:cubicBezTo>
                <a:cubicBezTo>
                  <a:pt x="59" y="8"/>
                  <a:pt x="60" y="7"/>
                  <a:pt x="61" y="6"/>
                </a:cubicBezTo>
                <a:cubicBezTo>
                  <a:pt x="62" y="4"/>
                  <a:pt x="64" y="4"/>
                  <a:pt x="65" y="6"/>
                </a:cubicBezTo>
                <a:cubicBezTo>
                  <a:pt x="66" y="6"/>
                  <a:pt x="67" y="7"/>
                  <a:pt x="67" y="8"/>
                </a:cubicBezTo>
                <a:cubicBezTo>
                  <a:pt x="67" y="8"/>
                  <a:pt x="68" y="8"/>
                  <a:pt x="68" y="8"/>
                </a:cubicBezTo>
                <a:cubicBezTo>
                  <a:pt x="70" y="6"/>
                  <a:pt x="71" y="5"/>
                  <a:pt x="72" y="4"/>
                </a:cubicBezTo>
                <a:cubicBezTo>
                  <a:pt x="73" y="4"/>
                  <a:pt x="73" y="4"/>
                  <a:pt x="73" y="4"/>
                </a:cubicBezTo>
                <a:cubicBezTo>
                  <a:pt x="75" y="4"/>
                  <a:pt x="77" y="7"/>
                  <a:pt x="76" y="9"/>
                </a:cubicBezTo>
                <a:cubicBezTo>
                  <a:pt x="76" y="9"/>
                  <a:pt x="76" y="9"/>
                  <a:pt x="76" y="9"/>
                </a:cubicBezTo>
                <a:cubicBezTo>
                  <a:pt x="71" y="14"/>
                  <a:pt x="65" y="18"/>
                  <a:pt x="60" y="22"/>
                </a:cubicBezTo>
                <a:cubicBezTo>
                  <a:pt x="58" y="24"/>
                  <a:pt x="56" y="26"/>
                  <a:pt x="53" y="28"/>
                </a:cubicBezTo>
                <a:cubicBezTo>
                  <a:pt x="53" y="29"/>
                  <a:pt x="52" y="29"/>
                  <a:pt x="52" y="29"/>
                </a:cubicBezTo>
                <a:cubicBezTo>
                  <a:pt x="53" y="29"/>
                  <a:pt x="54" y="28"/>
                  <a:pt x="54" y="28"/>
                </a:cubicBezTo>
                <a:cubicBezTo>
                  <a:pt x="58" y="25"/>
                  <a:pt x="62" y="22"/>
                  <a:pt x="66" y="19"/>
                </a:cubicBezTo>
                <a:cubicBezTo>
                  <a:pt x="69" y="17"/>
                  <a:pt x="72" y="14"/>
                  <a:pt x="75" y="12"/>
                </a:cubicBezTo>
                <a:cubicBezTo>
                  <a:pt x="76" y="11"/>
                  <a:pt x="78" y="10"/>
                  <a:pt x="80" y="8"/>
                </a:cubicBezTo>
                <a:cubicBezTo>
                  <a:pt x="80" y="8"/>
                  <a:pt x="83" y="9"/>
                  <a:pt x="83" y="10"/>
                </a:cubicBezTo>
                <a:cubicBezTo>
                  <a:pt x="83" y="11"/>
                  <a:pt x="83" y="11"/>
                  <a:pt x="84" y="12"/>
                </a:cubicBezTo>
                <a:cubicBezTo>
                  <a:pt x="86" y="10"/>
                  <a:pt x="88" y="9"/>
                  <a:pt x="91" y="7"/>
                </a:cubicBezTo>
                <a:cubicBezTo>
                  <a:pt x="94" y="6"/>
                  <a:pt x="96" y="4"/>
                  <a:pt x="99" y="2"/>
                </a:cubicBezTo>
                <a:cubicBezTo>
                  <a:pt x="100" y="1"/>
                  <a:pt x="101" y="1"/>
                  <a:pt x="102" y="2"/>
                </a:cubicBezTo>
                <a:cubicBezTo>
                  <a:pt x="104" y="3"/>
                  <a:pt x="105" y="4"/>
                  <a:pt x="107" y="5"/>
                </a:cubicBezTo>
                <a:cubicBezTo>
                  <a:pt x="108" y="6"/>
                  <a:pt x="108" y="7"/>
                  <a:pt x="107" y="8"/>
                </a:cubicBezTo>
                <a:cubicBezTo>
                  <a:pt x="105" y="11"/>
                  <a:pt x="102" y="13"/>
                  <a:pt x="99" y="15"/>
                </a:cubicBezTo>
                <a:cubicBezTo>
                  <a:pt x="98" y="16"/>
                  <a:pt x="97" y="17"/>
                  <a:pt x="96" y="18"/>
                </a:cubicBezTo>
                <a:cubicBezTo>
                  <a:pt x="96" y="18"/>
                  <a:pt x="97" y="18"/>
                  <a:pt x="97" y="18"/>
                </a:cubicBezTo>
                <a:cubicBezTo>
                  <a:pt x="98" y="17"/>
                  <a:pt x="100" y="15"/>
                  <a:pt x="102" y="14"/>
                </a:cubicBezTo>
                <a:cubicBezTo>
                  <a:pt x="102" y="14"/>
                  <a:pt x="103" y="13"/>
                  <a:pt x="103" y="14"/>
                </a:cubicBezTo>
                <a:cubicBezTo>
                  <a:pt x="104" y="14"/>
                  <a:pt x="105" y="13"/>
                  <a:pt x="105" y="13"/>
                </a:cubicBezTo>
                <a:cubicBezTo>
                  <a:pt x="109" y="10"/>
                  <a:pt x="114" y="8"/>
                  <a:pt x="118" y="6"/>
                </a:cubicBezTo>
                <a:cubicBezTo>
                  <a:pt x="119" y="5"/>
                  <a:pt x="121" y="5"/>
                  <a:pt x="122" y="4"/>
                </a:cubicBezTo>
                <a:cubicBezTo>
                  <a:pt x="123" y="3"/>
                  <a:pt x="124" y="2"/>
                  <a:pt x="125" y="1"/>
                </a:cubicBezTo>
                <a:cubicBezTo>
                  <a:pt x="126" y="1"/>
                  <a:pt x="127" y="0"/>
                  <a:pt x="128" y="1"/>
                </a:cubicBezTo>
                <a:cubicBezTo>
                  <a:pt x="128" y="2"/>
                  <a:pt x="129" y="2"/>
                  <a:pt x="130" y="3"/>
                </a:cubicBezTo>
                <a:cubicBezTo>
                  <a:pt x="131" y="4"/>
                  <a:pt x="130" y="6"/>
                  <a:pt x="129" y="7"/>
                </a:cubicBezTo>
                <a:cubicBezTo>
                  <a:pt x="128" y="8"/>
                  <a:pt x="128" y="8"/>
                  <a:pt x="127" y="8"/>
                </a:cubicBezTo>
                <a:cubicBezTo>
                  <a:pt x="126" y="9"/>
                  <a:pt x="126" y="10"/>
                  <a:pt x="127" y="11"/>
                </a:cubicBezTo>
                <a:cubicBezTo>
                  <a:pt x="125" y="13"/>
                  <a:pt x="122" y="15"/>
                  <a:pt x="120" y="17"/>
                </a:cubicBezTo>
                <a:cubicBezTo>
                  <a:pt x="120" y="17"/>
                  <a:pt x="120" y="17"/>
                  <a:pt x="121" y="18"/>
                </a:cubicBezTo>
                <a:cubicBezTo>
                  <a:pt x="127" y="13"/>
                  <a:pt x="134" y="8"/>
                  <a:pt x="141" y="3"/>
                </a:cubicBezTo>
                <a:cubicBezTo>
                  <a:pt x="142" y="3"/>
                  <a:pt x="143" y="4"/>
                  <a:pt x="144" y="5"/>
                </a:cubicBezTo>
                <a:cubicBezTo>
                  <a:pt x="145" y="4"/>
                  <a:pt x="146" y="3"/>
                  <a:pt x="147" y="3"/>
                </a:cubicBezTo>
                <a:cubicBezTo>
                  <a:pt x="148" y="3"/>
                  <a:pt x="149" y="3"/>
                  <a:pt x="149" y="4"/>
                </a:cubicBezTo>
                <a:cubicBezTo>
                  <a:pt x="150" y="5"/>
                  <a:pt x="150" y="5"/>
                  <a:pt x="151" y="6"/>
                </a:cubicBezTo>
                <a:cubicBezTo>
                  <a:pt x="152" y="5"/>
                  <a:pt x="154" y="3"/>
                  <a:pt x="156" y="2"/>
                </a:cubicBezTo>
                <a:cubicBezTo>
                  <a:pt x="157" y="3"/>
                  <a:pt x="158" y="4"/>
                  <a:pt x="160" y="6"/>
                </a:cubicBezTo>
                <a:cubicBezTo>
                  <a:pt x="160" y="5"/>
                  <a:pt x="161" y="5"/>
                  <a:pt x="161" y="4"/>
                </a:cubicBezTo>
                <a:cubicBezTo>
                  <a:pt x="162" y="3"/>
                  <a:pt x="163" y="3"/>
                  <a:pt x="164" y="4"/>
                </a:cubicBezTo>
                <a:cubicBezTo>
                  <a:pt x="165" y="5"/>
                  <a:pt x="166" y="6"/>
                  <a:pt x="166" y="8"/>
                </a:cubicBezTo>
                <a:cubicBezTo>
                  <a:pt x="166" y="8"/>
                  <a:pt x="166" y="9"/>
                  <a:pt x="166" y="9"/>
                </a:cubicBezTo>
                <a:cubicBezTo>
                  <a:pt x="169" y="8"/>
                  <a:pt x="171" y="8"/>
                  <a:pt x="173" y="7"/>
                </a:cubicBezTo>
                <a:cubicBezTo>
                  <a:pt x="173" y="7"/>
                  <a:pt x="174" y="6"/>
                  <a:pt x="174" y="6"/>
                </a:cubicBezTo>
                <a:cubicBezTo>
                  <a:pt x="175" y="5"/>
                  <a:pt x="175" y="5"/>
                  <a:pt x="176" y="5"/>
                </a:cubicBezTo>
                <a:cubicBezTo>
                  <a:pt x="178" y="5"/>
                  <a:pt x="180" y="7"/>
                  <a:pt x="180" y="9"/>
                </a:cubicBezTo>
                <a:cubicBezTo>
                  <a:pt x="180" y="10"/>
                  <a:pt x="179" y="10"/>
                  <a:pt x="179" y="11"/>
                </a:cubicBezTo>
                <a:cubicBezTo>
                  <a:pt x="181" y="9"/>
                  <a:pt x="183" y="8"/>
                  <a:pt x="185" y="6"/>
                </a:cubicBezTo>
                <a:cubicBezTo>
                  <a:pt x="185" y="5"/>
                  <a:pt x="186" y="4"/>
                  <a:pt x="187" y="4"/>
                </a:cubicBezTo>
                <a:cubicBezTo>
                  <a:pt x="188" y="5"/>
                  <a:pt x="190" y="5"/>
                  <a:pt x="190" y="7"/>
                </a:cubicBezTo>
                <a:cubicBezTo>
                  <a:pt x="190" y="7"/>
                  <a:pt x="190" y="7"/>
                  <a:pt x="191" y="8"/>
                </a:cubicBezTo>
                <a:cubicBezTo>
                  <a:pt x="192" y="9"/>
                  <a:pt x="194" y="11"/>
                  <a:pt x="195" y="13"/>
                </a:cubicBezTo>
                <a:cubicBezTo>
                  <a:pt x="192" y="17"/>
                  <a:pt x="189" y="20"/>
                  <a:pt x="186" y="24"/>
                </a:cubicBezTo>
                <a:cubicBezTo>
                  <a:pt x="186" y="24"/>
                  <a:pt x="186" y="24"/>
                  <a:pt x="187" y="25"/>
                </a:cubicBezTo>
                <a:cubicBezTo>
                  <a:pt x="188" y="24"/>
                  <a:pt x="189" y="23"/>
                  <a:pt x="190" y="22"/>
                </a:cubicBezTo>
                <a:cubicBezTo>
                  <a:pt x="190" y="22"/>
                  <a:pt x="191" y="21"/>
                  <a:pt x="192" y="22"/>
                </a:cubicBezTo>
                <a:cubicBezTo>
                  <a:pt x="195" y="23"/>
                  <a:pt x="196" y="25"/>
                  <a:pt x="194" y="28"/>
                </a:cubicBezTo>
                <a:cubicBezTo>
                  <a:pt x="194" y="29"/>
                  <a:pt x="193" y="30"/>
                  <a:pt x="192" y="31"/>
                </a:cubicBezTo>
                <a:cubicBezTo>
                  <a:pt x="192" y="31"/>
                  <a:pt x="192" y="31"/>
                  <a:pt x="192" y="32"/>
                </a:cubicBezTo>
                <a:cubicBezTo>
                  <a:pt x="193" y="31"/>
                  <a:pt x="194" y="30"/>
                  <a:pt x="195" y="30"/>
                </a:cubicBezTo>
                <a:cubicBezTo>
                  <a:pt x="197" y="28"/>
                  <a:pt x="199" y="28"/>
                  <a:pt x="200" y="30"/>
                </a:cubicBezTo>
                <a:cubicBezTo>
                  <a:pt x="201" y="31"/>
                  <a:pt x="201" y="31"/>
                  <a:pt x="202" y="32"/>
                </a:cubicBezTo>
                <a:cubicBezTo>
                  <a:pt x="199" y="36"/>
                  <a:pt x="196" y="40"/>
                  <a:pt x="193" y="44"/>
                </a:cubicBezTo>
                <a:cubicBezTo>
                  <a:pt x="191" y="46"/>
                  <a:pt x="191" y="47"/>
                  <a:pt x="193" y="48"/>
                </a:cubicBezTo>
                <a:cubicBezTo>
                  <a:pt x="193" y="48"/>
                  <a:pt x="193" y="48"/>
                  <a:pt x="193" y="48"/>
                </a:cubicBezTo>
                <a:cubicBezTo>
                  <a:pt x="194" y="48"/>
                  <a:pt x="195" y="46"/>
                  <a:pt x="196" y="46"/>
                </a:cubicBezTo>
                <a:cubicBezTo>
                  <a:pt x="197" y="47"/>
                  <a:pt x="198" y="48"/>
                  <a:pt x="199" y="49"/>
                </a:cubicBezTo>
                <a:cubicBezTo>
                  <a:pt x="200" y="50"/>
                  <a:pt x="199" y="51"/>
                  <a:pt x="199" y="52"/>
                </a:cubicBezTo>
                <a:cubicBezTo>
                  <a:pt x="197" y="54"/>
                  <a:pt x="196" y="56"/>
                  <a:pt x="194" y="58"/>
                </a:cubicBezTo>
                <a:cubicBezTo>
                  <a:pt x="194" y="58"/>
                  <a:pt x="194" y="59"/>
                  <a:pt x="194" y="59"/>
                </a:cubicBezTo>
                <a:cubicBezTo>
                  <a:pt x="195" y="59"/>
                  <a:pt x="195" y="58"/>
                  <a:pt x="195" y="58"/>
                </a:cubicBezTo>
                <a:cubicBezTo>
                  <a:pt x="196" y="56"/>
                  <a:pt x="198" y="56"/>
                  <a:pt x="199" y="58"/>
                </a:cubicBezTo>
                <a:cubicBezTo>
                  <a:pt x="202" y="61"/>
                  <a:pt x="201" y="61"/>
                  <a:pt x="199" y="63"/>
                </a:cubicBezTo>
                <a:cubicBezTo>
                  <a:pt x="198" y="65"/>
                  <a:pt x="197" y="67"/>
                  <a:pt x="195" y="68"/>
                </a:cubicBezTo>
                <a:cubicBezTo>
                  <a:pt x="198" y="69"/>
                  <a:pt x="198" y="71"/>
                  <a:pt x="199" y="72"/>
                </a:cubicBezTo>
                <a:cubicBezTo>
                  <a:pt x="199" y="72"/>
                  <a:pt x="199" y="73"/>
                  <a:pt x="199" y="74"/>
                </a:cubicBezTo>
                <a:cubicBezTo>
                  <a:pt x="197" y="77"/>
                  <a:pt x="195" y="80"/>
                  <a:pt x="194" y="83"/>
                </a:cubicBezTo>
                <a:cubicBezTo>
                  <a:pt x="193" y="83"/>
                  <a:pt x="193" y="84"/>
                  <a:pt x="193" y="85"/>
                </a:cubicBezTo>
                <a:cubicBezTo>
                  <a:pt x="193" y="86"/>
                  <a:pt x="193" y="87"/>
                  <a:pt x="192" y="88"/>
                </a:cubicBezTo>
                <a:cubicBezTo>
                  <a:pt x="191" y="88"/>
                  <a:pt x="191" y="89"/>
                  <a:pt x="191" y="89"/>
                </a:cubicBezTo>
                <a:cubicBezTo>
                  <a:pt x="191" y="90"/>
                  <a:pt x="192" y="90"/>
                  <a:pt x="192" y="90"/>
                </a:cubicBezTo>
                <a:cubicBezTo>
                  <a:pt x="194" y="91"/>
                  <a:pt x="195" y="93"/>
                  <a:pt x="194" y="95"/>
                </a:cubicBezTo>
                <a:cubicBezTo>
                  <a:pt x="193" y="97"/>
                  <a:pt x="192" y="99"/>
                  <a:pt x="191" y="101"/>
                </a:cubicBezTo>
                <a:cubicBezTo>
                  <a:pt x="192" y="101"/>
                  <a:pt x="193" y="101"/>
                  <a:pt x="194" y="100"/>
                </a:cubicBezTo>
                <a:cubicBezTo>
                  <a:pt x="195" y="99"/>
                  <a:pt x="196" y="100"/>
                  <a:pt x="197" y="100"/>
                </a:cubicBezTo>
                <a:cubicBezTo>
                  <a:pt x="198" y="100"/>
                  <a:pt x="199" y="101"/>
                  <a:pt x="199" y="102"/>
                </a:cubicBezTo>
                <a:cubicBezTo>
                  <a:pt x="200" y="104"/>
                  <a:pt x="199" y="106"/>
                  <a:pt x="198" y="107"/>
                </a:cubicBezTo>
                <a:cubicBezTo>
                  <a:pt x="200" y="108"/>
                  <a:pt x="201" y="109"/>
                  <a:pt x="200" y="111"/>
                </a:cubicBezTo>
                <a:cubicBezTo>
                  <a:pt x="200" y="113"/>
                  <a:pt x="199" y="114"/>
                  <a:pt x="197" y="116"/>
                </a:cubicBezTo>
                <a:cubicBezTo>
                  <a:pt x="198" y="116"/>
                  <a:pt x="199" y="117"/>
                  <a:pt x="200" y="117"/>
                </a:cubicBezTo>
                <a:cubicBezTo>
                  <a:pt x="202" y="118"/>
                  <a:pt x="202" y="120"/>
                  <a:pt x="201" y="122"/>
                </a:cubicBezTo>
                <a:cubicBezTo>
                  <a:pt x="199" y="124"/>
                  <a:pt x="198" y="126"/>
                  <a:pt x="196" y="128"/>
                </a:cubicBezTo>
                <a:cubicBezTo>
                  <a:pt x="198" y="129"/>
                  <a:pt x="201" y="129"/>
                  <a:pt x="200" y="131"/>
                </a:cubicBezTo>
                <a:cubicBezTo>
                  <a:pt x="200" y="133"/>
                  <a:pt x="199" y="135"/>
                  <a:pt x="198" y="137"/>
                </a:cubicBezTo>
                <a:cubicBezTo>
                  <a:pt x="198" y="137"/>
                  <a:pt x="198" y="137"/>
                  <a:pt x="198" y="137"/>
                </a:cubicBezTo>
                <a:cubicBezTo>
                  <a:pt x="199" y="137"/>
                  <a:pt x="200" y="137"/>
                  <a:pt x="200" y="138"/>
                </a:cubicBezTo>
                <a:cubicBezTo>
                  <a:pt x="201" y="140"/>
                  <a:pt x="201" y="141"/>
                  <a:pt x="200" y="143"/>
                </a:cubicBezTo>
                <a:cubicBezTo>
                  <a:pt x="200" y="144"/>
                  <a:pt x="199" y="144"/>
                  <a:pt x="199" y="145"/>
                </a:cubicBezTo>
                <a:cubicBezTo>
                  <a:pt x="198" y="146"/>
                  <a:pt x="198" y="146"/>
                  <a:pt x="199" y="146"/>
                </a:cubicBezTo>
                <a:cubicBezTo>
                  <a:pt x="201" y="149"/>
                  <a:pt x="199" y="152"/>
                  <a:pt x="197" y="154"/>
                </a:cubicBezTo>
                <a:cubicBezTo>
                  <a:pt x="197" y="154"/>
                  <a:pt x="197" y="154"/>
                  <a:pt x="197" y="154"/>
                </a:cubicBezTo>
                <a:cubicBezTo>
                  <a:pt x="198" y="156"/>
                  <a:pt x="198" y="159"/>
                  <a:pt x="199" y="161"/>
                </a:cubicBezTo>
                <a:cubicBezTo>
                  <a:pt x="199" y="162"/>
                  <a:pt x="198" y="163"/>
                  <a:pt x="197" y="164"/>
                </a:cubicBezTo>
                <a:cubicBezTo>
                  <a:pt x="195" y="166"/>
                  <a:pt x="193" y="169"/>
                  <a:pt x="190" y="171"/>
                </a:cubicBezTo>
                <a:cubicBezTo>
                  <a:pt x="188" y="173"/>
                  <a:pt x="186" y="175"/>
                  <a:pt x="184" y="176"/>
                </a:cubicBezTo>
                <a:cubicBezTo>
                  <a:pt x="183" y="177"/>
                  <a:pt x="183" y="177"/>
                  <a:pt x="183" y="177"/>
                </a:cubicBezTo>
                <a:cubicBezTo>
                  <a:pt x="181" y="176"/>
                  <a:pt x="181" y="177"/>
                  <a:pt x="180" y="178"/>
                </a:cubicBezTo>
                <a:cubicBezTo>
                  <a:pt x="179" y="178"/>
                  <a:pt x="178" y="179"/>
                  <a:pt x="177" y="178"/>
                </a:cubicBezTo>
                <a:cubicBezTo>
                  <a:pt x="176" y="177"/>
                  <a:pt x="175" y="176"/>
                  <a:pt x="174" y="176"/>
                </a:cubicBezTo>
                <a:cubicBezTo>
                  <a:pt x="173" y="177"/>
                  <a:pt x="172" y="178"/>
                  <a:pt x="171" y="179"/>
                </a:cubicBezTo>
                <a:cubicBezTo>
                  <a:pt x="170" y="181"/>
                  <a:pt x="169" y="181"/>
                  <a:pt x="167" y="180"/>
                </a:cubicBezTo>
                <a:cubicBezTo>
                  <a:pt x="166" y="179"/>
                  <a:pt x="165" y="178"/>
                  <a:pt x="165" y="176"/>
                </a:cubicBezTo>
                <a:cubicBezTo>
                  <a:pt x="164" y="176"/>
                  <a:pt x="163" y="177"/>
                  <a:pt x="162" y="177"/>
                </a:cubicBezTo>
                <a:cubicBezTo>
                  <a:pt x="161" y="177"/>
                  <a:pt x="160" y="176"/>
                  <a:pt x="159" y="176"/>
                </a:cubicBezTo>
                <a:cubicBezTo>
                  <a:pt x="158" y="175"/>
                  <a:pt x="158" y="175"/>
                  <a:pt x="157" y="176"/>
                </a:cubicBezTo>
                <a:cubicBezTo>
                  <a:pt x="155" y="176"/>
                  <a:pt x="154" y="176"/>
                  <a:pt x="153" y="175"/>
                </a:cubicBezTo>
                <a:cubicBezTo>
                  <a:pt x="153" y="175"/>
                  <a:pt x="152" y="174"/>
                  <a:pt x="152" y="175"/>
                </a:cubicBezTo>
                <a:cubicBezTo>
                  <a:pt x="150" y="175"/>
                  <a:pt x="149" y="175"/>
                  <a:pt x="148" y="174"/>
                </a:cubicBezTo>
                <a:cubicBezTo>
                  <a:pt x="147" y="174"/>
                  <a:pt x="146" y="174"/>
                  <a:pt x="146" y="174"/>
                </a:cubicBezTo>
                <a:cubicBezTo>
                  <a:pt x="144" y="176"/>
                  <a:pt x="143" y="177"/>
                  <a:pt x="140" y="175"/>
                </a:cubicBezTo>
                <a:cubicBezTo>
                  <a:pt x="140" y="175"/>
                  <a:pt x="139" y="175"/>
                  <a:pt x="138" y="175"/>
                </a:cubicBezTo>
                <a:cubicBezTo>
                  <a:pt x="137" y="175"/>
                  <a:pt x="137" y="175"/>
                  <a:pt x="136" y="175"/>
                </a:cubicBezTo>
                <a:cubicBezTo>
                  <a:pt x="135" y="177"/>
                  <a:pt x="134" y="177"/>
                  <a:pt x="132" y="176"/>
                </a:cubicBezTo>
                <a:cubicBezTo>
                  <a:pt x="132" y="176"/>
                  <a:pt x="131" y="176"/>
                  <a:pt x="130" y="176"/>
                </a:cubicBezTo>
                <a:cubicBezTo>
                  <a:pt x="128" y="178"/>
                  <a:pt x="128" y="178"/>
                  <a:pt x="126" y="177"/>
                </a:cubicBezTo>
                <a:close/>
                <a:moveTo>
                  <a:pt x="48" y="157"/>
                </a:moveTo>
                <a:cubicBezTo>
                  <a:pt x="48" y="157"/>
                  <a:pt x="48" y="157"/>
                  <a:pt x="47" y="156"/>
                </a:cubicBezTo>
                <a:cubicBezTo>
                  <a:pt x="45" y="159"/>
                  <a:pt x="43" y="161"/>
                  <a:pt x="41" y="163"/>
                </a:cubicBezTo>
                <a:cubicBezTo>
                  <a:pt x="41" y="163"/>
                  <a:pt x="42" y="163"/>
                  <a:pt x="42" y="163"/>
                </a:cubicBezTo>
                <a:cubicBezTo>
                  <a:pt x="44" y="161"/>
                  <a:pt x="45" y="160"/>
                  <a:pt x="47" y="158"/>
                </a:cubicBezTo>
                <a:cubicBezTo>
                  <a:pt x="48" y="158"/>
                  <a:pt x="48" y="157"/>
                  <a:pt x="48" y="157"/>
                </a:cubicBezTo>
                <a:close/>
                <a:moveTo>
                  <a:pt x="21" y="127"/>
                </a:moveTo>
                <a:cubicBezTo>
                  <a:pt x="21" y="127"/>
                  <a:pt x="21" y="127"/>
                  <a:pt x="21" y="128"/>
                </a:cubicBezTo>
                <a:cubicBezTo>
                  <a:pt x="23" y="126"/>
                  <a:pt x="24" y="125"/>
                  <a:pt x="26" y="124"/>
                </a:cubicBezTo>
                <a:cubicBezTo>
                  <a:pt x="26" y="123"/>
                  <a:pt x="26" y="123"/>
                  <a:pt x="26" y="121"/>
                </a:cubicBezTo>
                <a:cubicBezTo>
                  <a:pt x="24" y="123"/>
                  <a:pt x="23" y="125"/>
                  <a:pt x="21" y="127"/>
                </a:cubicBezTo>
                <a:close/>
                <a:moveTo>
                  <a:pt x="69" y="24"/>
                </a:moveTo>
                <a:cubicBezTo>
                  <a:pt x="67" y="25"/>
                  <a:pt x="68" y="27"/>
                  <a:pt x="68" y="28"/>
                </a:cubicBezTo>
                <a:cubicBezTo>
                  <a:pt x="69" y="27"/>
                  <a:pt x="70" y="26"/>
                  <a:pt x="69" y="24"/>
                </a:cubicBezTo>
                <a:close/>
              </a:path>
            </a:pathLst>
          </a:cu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txBody>
          <a:bodyPr lIns="180000" tIns="108000" rIns="180000" bIns="108000" anchor="ctr"/>
          <a:lstStyle>
            <a:lvl1pPr marL="342900" indent="-34290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171450" indent="-17145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defTabSz="12176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defTabSz="12176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defTabSz="12176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defTabSz="12176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marL="0" lvl="0" indent="0" algn="ctr"/>
            <a:r>
              <a:rPr lang="en-US" sz="1600" b="1" dirty="0">
                <a:solidFill>
                  <a:schemeClr val="accent1"/>
                </a:solidFill>
                <a:latin typeface="+mn-lt"/>
              </a:rPr>
              <a:t>GNSS observation </a:t>
            </a:r>
            <a:r>
              <a:rPr lang="en-US" sz="1600" dirty="0">
                <a:solidFill>
                  <a:schemeClr val="accent1"/>
                </a:solidFill>
                <a:latin typeface="+mn-lt"/>
              </a:rPr>
              <a:t>from cars in </a:t>
            </a:r>
            <a:r>
              <a:rPr lang="en-US" sz="1600" b="1" dirty="0" err="1">
                <a:solidFill>
                  <a:schemeClr val="accent1"/>
                </a:solidFill>
                <a:latin typeface="+mn-lt"/>
              </a:rPr>
              <a:t>italy</a:t>
            </a:r>
            <a:endParaRPr lang="it-IT" sz="1600" b="1" dirty="0">
              <a:solidFill>
                <a:schemeClr val="accent1"/>
              </a:solidFill>
              <a:latin typeface="+mn-lt"/>
            </a:endParaRPr>
          </a:p>
        </p:txBody>
      </p:sp>
      <p:sp>
        <p:nvSpPr>
          <p:cNvPr id="180" name="Freeform 26">
            <a:extLst>
              <a:ext uri="{FF2B5EF4-FFF2-40B4-BE49-F238E27FC236}">
                <a16:creationId xmlns:a16="http://schemas.microsoft.com/office/drawing/2014/main" id="{024295F8-51CA-5CFB-892C-D0BA620DFD53}"/>
              </a:ext>
            </a:extLst>
          </p:cNvPr>
          <p:cNvSpPr>
            <a:spLocks noEditPoints="1"/>
          </p:cNvSpPr>
          <p:nvPr/>
        </p:nvSpPr>
        <p:spPr bwMode="auto">
          <a:xfrm>
            <a:off x="6691879" y="1404754"/>
            <a:ext cx="2359424" cy="913739"/>
          </a:xfrm>
          <a:custGeom>
            <a:avLst/>
            <a:gdLst>
              <a:gd name="T0" fmla="*/ 2147483646 w 202"/>
              <a:gd name="T1" fmla="*/ 2147483646 h 184"/>
              <a:gd name="T2" fmla="*/ 2147483646 w 202"/>
              <a:gd name="T3" fmla="*/ 2147483646 h 184"/>
              <a:gd name="T4" fmla="*/ 2147483646 w 202"/>
              <a:gd name="T5" fmla="*/ 2147483646 h 184"/>
              <a:gd name="T6" fmla="*/ 2147483646 w 202"/>
              <a:gd name="T7" fmla="*/ 2147483646 h 184"/>
              <a:gd name="T8" fmla="*/ 2147483646 w 202"/>
              <a:gd name="T9" fmla="*/ 2147483646 h 184"/>
              <a:gd name="T10" fmla="*/ 2147483646 w 202"/>
              <a:gd name="T11" fmla="*/ 2147483646 h 184"/>
              <a:gd name="T12" fmla="*/ 2147483646 w 202"/>
              <a:gd name="T13" fmla="*/ 2147483646 h 184"/>
              <a:gd name="T14" fmla="*/ 2147483646 w 202"/>
              <a:gd name="T15" fmla="*/ 2147483646 h 184"/>
              <a:gd name="T16" fmla="*/ 2147483646 w 202"/>
              <a:gd name="T17" fmla="*/ 2147483646 h 184"/>
              <a:gd name="T18" fmla="*/ 2147483646 w 202"/>
              <a:gd name="T19" fmla="*/ 2147483646 h 184"/>
              <a:gd name="T20" fmla="*/ 2147483646 w 202"/>
              <a:gd name="T21" fmla="*/ 2147483646 h 184"/>
              <a:gd name="T22" fmla="*/ 2147483646 w 202"/>
              <a:gd name="T23" fmla="*/ 2147483646 h 184"/>
              <a:gd name="T24" fmla="*/ 2147483646 w 202"/>
              <a:gd name="T25" fmla="*/ 2147483646 h 184"/>
              <a:gd name="T26" fmla="*/ 2147483646 w 202"/>
              <a:gd name="T27" fmla="*/ 2147483646 h 184"/>
              <a:gd name="T28" fmla="*/ 2147483646 w 202"/>
              <a:gd name="T29" fmla="*/ 2147483646 h 184"/>
              <a:gd name="T30" fmla="*/ 2147483646 w 202"/>
              <a:gd name="T31" fmla="*/ 2147483646 h 184"/>
              <a:gd name="T32" fmla="*/ 2147483646 w 202"/>
              <a:gd name="T33" fmla="*/ 2147483646 h 184"/>
              <a:gd name="T34" fmla="*/ 2147483646 w 202"/>
              <a:gd name="T35" fmla="*/ 2147483646 h 184"/>
              <a:gd name="T36" fmla="*/ 2147483646 w 202"/>
              <a:gd name="T37" fmla="*/ 2147483646 h 184"/>
              <a:gd name="T38" fmla="*/ 2147483646 w 202"/>
              <a:gd name="T39" fmla="*/ 2147483646 h 184"/>
              <a:gd name="T40" fmla="*/ 2147483646 w 202"/>
              <a:gd name="T41" fmla="*/ 2147483646 h 184"/>
              <a:gd name="T42" fmla="*/ 2147483646 w 202"/>
              <a:gd name="T43" fmla="*/ 2147483646 h 184"/>
              <a:gd name="T44" fmla="*/ 2147483646 w 202"/>
              <a:gd name="T45" fmla="*/ 2147483646 h 184"/>
              <a:gd name="T46" fmla="*/ 2147483646 w 202"/>
              <a:gd name="T47" fmla="*/ 2147483646 h 184"/>
              <a:gd name="T48" fmla="*/ 2147483646 w 202"/>
              <a:gd name="T49" fmla="*/ 2147483646 h 184"/>
              <a:gd name="T50" fmla="*/ 2147483646 w 202"/>
              <a:gd name="T51" fmla="*/ 2147483646 h 184"/>
              <a:gd name="T52" fmla="*/ 2147483646 w 202"/>
              <a:gd name="T53" fmla="*/ 2147483646 h 184"/>
              <a:gd name="T54" fmla="*/ 2147483646 w 202"/>
              <a:gd name="T55" fmla="*/ 2147483646 h 184"/>
              <a:gd name="T56" fmla="*/ 2147483646 w 202"/>
              <a:gd name="T57" fmla="*/ 2147483646 h 184"/>
              <a:gd name="T58" fmla="*/ 2147483646 w 202"/>
              <a:gd name="T59" fmla="*/ 2147483646 h 184"/>
              <a:gd name="T60" fmla="*/ 2147483646 w 202"/>
              <a:gd name="T61" fmla="*/ 2147483646 h 184"/>
              <a:gd name="T62" fmla="*/ 2147483646 w 202"/>
              <a:gd name="T63" fmla="*/ 2147483646 h 184"/>
              <a:gd name="T64" fmla="*/ 2147483646 w 202"/>
              <a:gd name="T65" fmla="*/ 2147483646 h 184"/>
              <a:gd name="T66" fmla="*/ 2147483646 w 202"/>
              <a:gd name="T67" fmla="*/ 2147483646 h 184"/>
              <a:gd name="T68" fmla="*/ 2147483646 w 202"/>
              <a:gd name="T69" fmla="*/ 2147483646 h 184"/>
              <a:gd name="T70" fmla="*/ 2147483646 w 202"/>
              <a:gd name="T71" fmla="*/ 2147483646 h 184"/>
              <a:gd name="T72" fmla="*/ 2147483646 w 202"/>
              <a:gd name="T73" fmla="*/ 2147483646 h 184"/>
              <a:gd name="T74" fmla="*/ 2147483646 w 202"/>
              <a:gd name="T75" fmla="*/ 2147483646 h 184"/>
              <a:gd name="T76" fmla="*/ 2147483646 w 202"/>
              <a:gd name="T77" fmla="*/ 2147483646 h 184"/>
              <a:gd name="T78" fmla="*/ 2147483646 w 202"/>
              <a:gd name="T79" fmla="*/ 2147483646 h 184"/>
              <a:gd name="T80" fmla="*/ 2147483646 w 202"/>
              <a:gd name="T81" fmla="*/ 2147483646 h 184"/>
              <a:gd name="T82" fmla="*/ 2147483646 w 202"/>
              <a:gd name="T83" fmla="*/ 2147483646 h 184"/>
              <a:gd name="T84" fmla="*/ 2147483646 w 202"/>
              <a:gd name="T85" fmla="*/ 2147483646 h 184"/>
              <a:gd name="T86" fmla="*/ 2147483646 w 202"/>
              <a:gd name="T87" fmla="*/ 2147483646 h 184"/>
              <a:gd name="T88" fmla="*/ 2147483646 w 202"/>
              <a:gd name="T89" fmla="*/ 2147483646 h 184"/>
              <a:gd name="T90" fmla="*/ 2147483646 w 202"/>
              <a:gd name="T91" fmla="*/ 2147483646 h 184"/>
              <a:gd name="T92" fmla="*/ 2147483646 w 202"/>
              <a:gd name="T93" fmla="*/ 2147483646 h 184"/>
              <a:gd name="T94" fmla="*/ 2147483646 w 202"/>
              <a:gd name="T95" fmla="*/ 2147483646 h 184"/>
              <a:gd name="T96" fmla="*/ 2147483646 w 202"/>
              <a:gd name="T97" fmla="*/ 2147483646 h 184"/>
              <a:gd name="T98" fmla="*/ 2147483646 w 202"/>
              <a:gd name="T99" fmla="*/ 2147483646 h 184"/>
              <a:gd name="T100" fmla="*/ 2147483646 w 202"/>
              <a:gd name="T101" fmla="*/ 2147483646 h 184"/>
              <a:gd name="T102" fmla="*/ 2147483646 w 202"/>
              <a:gd name="T103" fmla="*/ 2147483646 h 184"/>
              <a:gd name="T104" fmla="*/ 2147483646 w 202"/>
              <a:gd name="T105" fmla="*/ 2147483646 h 184"/>
              <a:gd name="T106" fmla="*/ 2147483646 w 202"/>
              <a:gd name="T107" fmla="*/ 2147483646 h 184"/>
              <a:gd name="T108" fmla="*/ 2147483646 w 202"/>
              <a:gd name="T109" fmla="*/ 2147483646 h 184"/>
              <a:gd name="T110" fmla="*/ 2147483646 w 202"/>
              <a:gd name="T111" fmla="*/ 2147483646 h 184"/>
              <a:gd name="T112" fmla="*/ 2147483646 w 202"/>
              <a:gd name="T113" fmla="*/ 2147483646 h 184"/>
              <a:gd name="T114" fmla="*/ 2147483646 w 202"/>
              <a:gd name="T115" fmla="*/ 2147483646 h 184"/>
              <a:gd name="T116" fmla="*/ 2147483646 w 202"/>
              <a:gd name="T117" fmla="*/ 2147483646 h 184"/>
              <a:gd name="T118" fmla="*/ 2147483646 w 202"/>
              <a:gd name="T119" fmla="*/ 2147483646 h 184"/>
              <a:gd name="T120" fmla="*/ 2147483646 w 202"/>
              <a:gd name="T121" fmla="*/ 2147483646 h 184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w 202"/>
              <a:gd name="T184" fmla="*/ 0 h 184"/>
              <a:gd name="T185" fmla="*/ 202 w 202"/>
              <a:gd name="T186" fmla="*/ 184 h 184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T183" t="T184" r="T185" b="T186"/>
            <a:pathLst>
              <a:path w="202" h="184">
                <a:moveTo>
                  <a:pt x="126" y="177"/>
                </a:moveTo>
                <a:cubicBezTo>
                  <a:pt x="124" y="177"/>
                  <a:pt x="123" y="179"/>
                  <a:pt x="121" y="178"/>
                </a:cubicBezTo>
                <a:cubicBezTo>
                  <a:pt x="119" y="176"/>
                  <a:pt x="118" y="175"/>
                  <a:pt x="119" y="173"/>
                </a:cubicBezTo>
                <a:cubicBezTo>
                  <a:pt x="118" y="174"/>
                  <a:pt x="117" y="174"/>
                  <a:pt x="116" y="174"/>
                </a:cubicBezTo>
                <a:cubicBezTo>
                  <a:pt x="114" y="175"/>
                  <a:pt x="112" y="177"/>
                  <a:pt x="111" y="178"/>
                </a:cubicBezTo>
                <a:cubicBezTo>
                  <a:pt x="107" y="179"/>
                  <a:pt x="107" y="179"/>
                  <a:pt x="104" y="177"/>
                </a:cubicBezTo>
                <a:cubicBezTo>
                  <a:pt x="102" y="178"/>
                  <a:pt x="101" y="178"/>
                  <a:pt x="98" y="178"/>
                </a:cubicBezTo>
                <a:cubicBezTo>
                  <a:pt x="97" y="177"/>
                  <a:pt x="96" y="178"/>
                  <a:pt x="95" y="179"/>
                </a:cubicBezTo>
                <a:cubicBezTo>
                  <a:pt x="93" y="179"/>
                  <a:pt x="91" y="180"/>
                  <a:pt x="89" y="181"/>
                </a:cubicBezTo>
                <a:cubicBezTo>
                  <a:pt x="88" y="181"/>
                  <a:pt x="87" y="182"/>
                  <a:pt x="86" y="180"/>
                </a:cubicBezTo>
                <a:cubicBezTo>
                  <a:pt x="86" y="179"/>
                  <a:pt x="85" y="179"/>
                  <a:pt x="85" y="178"/>
                </a:cubicBezTo>
                <a:cubicBezTo>
                  <a:pt x="85" y="177"/>
                  <a:pt x="85" y="177"/>
                  <a:pt x="85" y="176"/>
                </a:cubicBezTo>
                <a:cubicBezTo>
                  <a:pt x="86" y="175"/>
                  <a:pt x="87" y="174"/>
                  <a:pt x="88" y="173"/>
                </a:cubicBezTo>
                <a:cubicBezTo>
                  <a:pt x="88" y="173"/>
                  <a:pt x="88" y="173"/>
                  <a:pt x="88" y="173"/>
                </a:cubicBezTo>
                <a:cubicBezTo>
                  <a:pt x="86" y="171"/>
                  <a:pt x="84" y="172"/>
                  <a:pt x="83" y="173"/>
                </a:cubicBezTo>
                <a:cubicBezTo>
                  <a:pt x="80" y="176"/>
                  <a:pt x="78" y="174"/>
                  <a:pt x="77" y="171"/>
                </a:cubicBezTo>
                <a:cubicBezTo>
                  <a:pt x="74" y="172"/>
                  <a:pt x="70" y="173"/>
                  <a:pt x="68" y="175"/>
                </a:cubicBezTo>
                <a:cubicBezTo>
                  <a:pt x="66" y="176"/>
                  <a:pt x="65" y="177"/>
                  <a:pt x="64" y="177"/>
                </a:cubicBezTo>
                <a:cubicBezTo>
                  <a:pt x="63" y="178"/>
                  <a:pt x="62" y="177"/>
                  <a:pt x="61" y="176"/>
                </a:cubicBezTo>
                <a:cubicBezTo>
                  <a:pt x="61" y="176"/>
                  <a:pt x="61" y="175"/>
                  <a:pt x="60" y="174"/>
                </a:cubicBezTo>
                <a:cubicBezTo>
                  <a:pt x="58" y="175"/>
                  <a:pt x="57" y="176"/>
                  <a:pt x="55" y="177"/>
                </a:cubicBezTo>
                <a:cubicBezTo>
                  <a:pt x="54" y="179"/>
                  <a:pt x="52" y="180"/>
                  <a:pt x="51" y="181"/>
                </a:cubicBezTo>
                <a:cubicBezTo>
                  <a:pt x="49" y="183"/>
                  <a:pt x="46" y="182"/>
                  <a:pt x="46" y="179"/>
                </a:cubicBezTo>
                <a:cubicBezTo>
                  <a:pt x="46" y="178"/>
                  <a:pt x="46" y="178"/>
                  <a:pt x="46" y="177"/>
                </a:cubicBezTo>
                <a:cubicBezTo>
                  <a:pt x="44" y="179"/>
                  <a:pt x="42" y="180"/>
                  <a:pt x="41" y="181"/>
                </a:cubicBezTo>
                <a:cubicBezTo>
                  <a:pt x="39" y="182"/>
                  <a:pt x="38" y="183"/>
                  <a:pt x="37" y="184"/>
                </a:cubicBezTo>
                <a:cubicBezTo>
                  <a:pt x="36" y="184"/>
                  <a:pt x="35" y="184"/>
                  <a:pt x="34" y="183"/>
                </a:cubicBezTo>
                <a:cubicBezTo>
                  <a:pt x="32" y="182"/>
                  <a:pt x="32" y="179"/>
                  <a:pt x="34" y="177"/>
                </a:cubicBezTo>
                <a:cubicBezTo>
                  <a:pt x="34" y="177"/>
                  <a:pt x="35" y="176"/>
                  <a:pt x="35" y="176"/>
                </a:cubicBezTo>
                <a:cubicBezTo>
                  <a:pt x="35" y="176"/>
                  <a:pt x="35" y="176"/>
                  <a:pt x="35" y="176"/>
                </a:cubicBezTo>
                <a:cubicBezTo>
                  <a:pt x="34" y="176"/>
                  <a:pt x="33" y="177"/>
                  <a:pt x="32" y="178"/>
                </a:cubicBezTo>
                <a:cubicBezTo>
                  <a:pt x="31" y="179"/>
                  <a:pt x="30" y="180"/>
                  <a:pt x="28" y="180"/>
                </a:cubicBezTo>
                <a:cubicBezTo>
                  <a:pt x="27" y="181"/>
                  <a:pt x="26" y="181"/>
                  <a:pt x="25" y="180"/>
                </a:cubicBezTo>
                <a:cubicBezTo>
                  <a:pt x="24" y="178"/>
                  <a:pt x="23" y="178"/>
                  <a:pt x="24" y="176"/>
                </a:cubicBezTo>
                <a:cubicBezTo>
                  <a:pt x="22" y="177"/>
                  <a:pt x="21" y="178"/>
                  <a:pt x="20" y="179"/>
                </a:cubicBezTo>
                <a:cubicBezTo>
                  <a:pt x="19" y="180"/>
                  <a:pt x="17" y="180"/>
                  <a:pt x="16" y="179"/>
                </a:cubicBezTo>
                <a:cubicBezTo>
                  <a:pt x="16" y="179"/>
                  <a:pt x="15" y="178"/>
                  <a:pt x="15" y="178"/>
                </a:cubicBezTo>
                <a:cubicBezTo>
                  <a:pt x="14" y="177"/>
                  <a:pt x="14" y="176"/>
                  <a:pt x="15" y="174"/>
                </a:cubicBezTo>
                <a:cubicBezTo>
                  <a:pt x="12" y="174"/>
                  <a:pt x="10" y="172"/>
                  <a:pt x="11" y="171"/>
                </a:cubicBezTo>
                <a:cubicBezTo>
                  <a:pt x="11" y="169"/>
                  <a:pt x="13" y="167"/>
                  <a:pt x="13" y="166"/>
                </a:cubicBezTo>
                <a:cubicBezTo>
                  <a:pt x="12" y="164"/>
                  <a:pt x="11" y="163"/>
                  <a:pt x="9" y="161"/>
                </a:cubicBezTo>
                <a:cubicBezTo>
                  <a:pt x="12" y="157"/>
                  <a:pt x="16" y="154"/>
                  <a:pt x="18" y="149"/>
                </a:cubicBezTo>
                <a:cubicBezTo>
                  <a:pt x="18" y="149"/>
                  <a:pt x="18" y="149"/>
                  <a:pt x="18" y="149"/>
                </a:cubicBezTo>
                <a:cubicBezTo>
                  <a:pt x="17" y="149"/>
                  <a:pt x="17" y="150"/>
                  <a:pt x="16" y="151"/>
                </a:cubicBezTo>
                <a:cubicBezTo>
                  <a:pt x="14" y="152"/>
                  <a:pt x="12" y="151"/>
                  <a:pt x="11" y="149"/>
                </a:cubicBezTo>
                <a:cubicBezTo>
                  <a:pt x="10" y="148"/>
                  <a:pt x="11" y="147"/>
                  <a:pt x="12" y="146"/>
                </a:cubicBezTo>
                <a:cubicBezTo>
                  <a:pt x="14" y="143"/>
                  <a:pt x="16" y="140"/>
                  <a:pt x="18" y="137"/>
                </a:cubicBezTo>
                <a:cubicBezTo>
                  <a:pt x="17" y="138"/>
                  <a:pt x="15" y="139"/>
                  <a:pt x="14" y="140"/>
                </a:cubicBezTo>
                <a:cubicBezTo>
                  <a:pt x="12" y="141"/>
                  <a:pt x="10" y="141"/>
                  <a:pt x="9" y="140"/>
                </a:cubicBezTo>
                <a:cubicBezTo>
                  <a:pt x="8" y="139"/>
                  <a:pt x="7" y="137"/>
                  <a:pt x="8" y="135"/>
                </a:cubicBezTo>
                <a:cubicBezTo>
                  <a:pt x="9" y="133"/>
                  <a:pt x="11" y="131"/>
                  <a:pt x="12" y="129"/>
                </a:cubicBezTo>
                <a:cubicBezTo>
                  <a:pt x="12" y="128"/>
                  <a:pt x="13" y="128"/>
                  <a:pt x="13" y="128"/>
                </a:cubicBezTo>
                <a:cubicBezTo>
                  <a:pt x="10" y="128"/>
                  <a:pt x="8" y="126"/>
                  <a:pt x="8" y="124"/>
                </a:cubicBezTo>
                <a:cubicBezTo>
                  <a:pt x="8" y="123"/>
                  <a:pt x="9" y="122"/>
                  <a:pt x="9" y="121"/>
                </a:cubicBezTo>
                <a:cubicBezTo>
                  <a:pt x="10" y="120"/>
                  <a:pt x="12" y="118"/>
                  <a:pt x="13" y="116"/>
                </a:cubicBezTo>
                <a:cubicBezTo>
                  <a:pt x="12" y="116"/>
                  <a:pt x="12" y="116"/>
                  <a:pt x="11" y="116"/>
                </a:cubicBezTo>
                <a:cubicBezTo>
                  <a:pt x="9" y="117"/>
                  <a:pt x="7" y="115"/>
                  <a:pt x="7" y="113"/>
                </a:cubicBezTo>
                <a:cubicBezTo>
                  <a:pt x="7" y="112"/>
                  <a:pt x="7" y="111"/>
                  <a:pt x="8" y="110"/>
                </a:cubicBezTo>
                <a:cubicBezTo>
                  <a:pt x="9" y="108"/>
                  <a:pt x="11" y="106"/>
                  <a:pt x="13" y="104"/>
                </a:cubicBezTo>
                <a:cubicBezTo>
                  <a:pt x="11" y="104"/>
                  <a:pt x="9" y="106"/>
                  <a:pt x="7" y="104"/>
                </a:cubicBezTo>
                <a:cubicBezTo>
                  <a:pt x="6" y="104"/>
                  <a:pt x="6" y="102"/>
                  <a:pt x="5" y="101"/>
                </a:cubicBezTo>
                <a:cubicBezTo>
                  <a:pt x="7" y="99"/>
                  <a:pt x="8" y="98"/>
                  <a:pt x="9" y="96"/>
                </a:cubicBezTo>
                <a:cubicBezTo>
                  <a:pt x="8" y="95"/>
                  <a:pt x="8" y="94"/>
                  <a:pt x="7" y="92"/>
                </a:cubicBezTo>
                <a:cubicBezTo>
                  <a:pt x="7" y="92"/>
                  <a:pt x="6" y="92"/>
                  <a:pt x="6" y="92"/>
                </a:cubicBezTo>
                <a:cubicBezTo>
                  <a:pt x="4" y="91"/>
                  <a:pt x="3" y="88"/>
                  <a:pt x="4" y="86"/>
                </a:cubicBezTo>
                <a:cubicBezTo>
                  <a:pt x="4" y="86"/>
                  <a:pt x="5" y="86"/>
                  <a:pt x="5" y="85"/>
                </a:cubicBezTo>
                <a:cubicBezTo>
                  <a:pt x="6" y="85"/>
                  <a:pt x="6" y="84"/>
                  <a:pt x="5" y="83"/>
                </a:cubicBezTo>
                <a:cubicBezTo>
                  <a:pt x="4" y="82"/>
                  <a:pt x="4" y="81"/>
                  <a:pt x="5" y="79"/>
                </a:cubicBezTo>
                <a:cubicBezTo>
                  <a:pt x="6" y="77"/>
                  <a:pt x="7" y="76"/>
                  <a:pt x="8" y="74"/>
                </a:cubicBezTo>
                <a:cubicBezTo>
                  <a:pt x="9" y="74"/>
                  <a:pt x="8" y="73"/>
                  <a:pt x="8" y="73"/>
                </a:cubicBezTo>
                <a:cubicBezTo>
                  <a:pt x="5" y="70"/>
                  <a:pt x="6" y="69"/>
                  <a:pt x="8" y="67"/>
                </a:cubicBezTo>
                <a:cubicBezTo>
                  <a:pt x="9" y="66"/>
                  <a:pt x="9" y="65"/>
                  <a:pt x="8" y="65"/>
                </a:cubicBezTo>
                <a:cubicBezTo>
                  <a:pt x="6" y="62"/>
                  <a:pt x="6" y="63"/>
                  <a:pt x="8" y="60"/>
                </a:cubicBezTo>
                <a:cubicBezTo>
                  <a:pt x="10" y="57"/>
                  <a:pt x="12" y="55"/>
                  <a:pt x="14" y="53"/>
                </a:cubicBezTo>
                <a:cubicBezTo>
                  <a:pt x="14" y="52"/>
                  <a:pt x="14" y="52"/>
                  <a:pt x="14" y="52"/>
                </a:cubicBezTo>
                <a:cubicBezTo>
                  <a:pt x="13" y="53"/>
                  <a:pt x="12" y="54"/>
                  <a:pt x="11" y="54"/>
                </a:cubicBezTo>
                <a:cubicBezTo>
                  <a:pt x="10" y="56"/>
                  <a:pt x="8" y="58"/>
                  <a:pt x="6" y="60"/>
                </a:cubicBezTo>
                <a:cubicBezTo>
                  <a:pt x="5" y="62"/>
                  <a:pt x="3" y="62"/>
                  <a:pt x="2" y="60"/>
                </a:cubicBezTo>
                <a:cubicBezTo>
                  <a:pt x="0" y="57"/>
                  <a:pt x="2" y="55"/>
                  <a:pt x="3" y="54"/>
                </a:cubicBezTo>
                <a:cubicBezTo>
                  <a:pt x="6" y="50"/>
                  <a:pt x="10" y="47"/>
                  <a:pt x="13" y="43"/>
                </a:cubicBezTo>
                <a:cubicBezTo>
                  <a:pt x="11" y="44"/>
                  <a:pt x="8" y="42"/>
                  <a:pt x="8" y="39"/>
                </a:cubicBezTo>
                <a:cubicBezTo>
                  <a:pt x="8" y="38"/>
                  <a:pt x="8" y="37"/>
                  <a:pt x="9" y="37"/>
                </a:cubicBezTo>
                <a:cubicBezTo>
                  <a:pt x="10" y="37"/>
                  <a:pt x="11" y="36"/>
                  <a:pt x="11" y="35"/>
                </a:cubicBezTo>
                <a:cubicBezTo>
                  <a:pt x="10" y="34"/>
                  <a:pt x="10" y="32"/>
                  <a:pt x="9" y="31"/>
                </a:cubicBezTo>
                <a:cubicBezTo>
                  <a:pt x="9" y="30"/>
                  <a:pt x="9" y="29"/>
                  <a:pt x="10" y="29"/>
                </a:cubicBezTo>
                <a:cubicBezTo>
                  <a:pt x="11" y="28"/>
                  <a:pt x="13" y="27"/>
                  <a:pt x="14" y="25"/>
                </a:cubicBezTo>
                <a:cubicBezTo>
                  <a:pt x="14" y="25"/>
                  <a:pt x="15" y="24"/>
                  <a:pt x="15" y="24"/>
                </a:cubicBezTo>
                <a:cubicBezTo>
                  <a:pt x="14" y="23"/>
                  <a:pt x="15" y="22"/>
                  <a:pt x="14" y="21"/>
                </a:cubicBezTo>
                <a:cubicBezTo>
                  <a:pt x="13" y="21"/>
                  <a:pt x="13" y="19"/>
                  <a:pt x="14" y="19"/>
                </a:cubicBezTo>
                <a:cubicBezTo>
                  <a:pt x="15" y="17"/>
                  <a:pt x="16" y="16"/>
                  <a:pt x="18" y="14"/>
                </a:cubicBezTo>
                <a:cubicBezTo>
                  <a:pt x="18" y="14"/>
                  <a:pt x="19" y="13"/>
                  <a:pt x="20" y="12"/>
                </a:cubicBezTo>
                <a:cubicBezTo>
                  <a:pt x="21" y="11"/>
                  <a:pt x="22" y="11"/>
                  <a:pt x="23" y="12"/>
                </a:cubicBezTo>
                <a:cubicBezTo>
                  <a:pt x="24" y="13"/>
                  <a:pt x="26" y="13"/>
                  <a:pt x="27" y="13"/>
                </a:cubicBezTo>
                <a:cubicBezTo>
                  <a:pt x="28" y="13"/>
                  <a:pt x="28" y="13"/>
                  <a:pt x="29" y="14"/>
                </a:cubicBezTo>
                <a:cubicBezTo>
                  <a:pt x="30" y="14"/>
                  <a:pt x="30" y="14"/>
                  <a:pt x="31" y="14"/>
                </a:cubicBezTo>
                <a:cubicBezTo>
                  <a:pt x="33" y="12"/>
                  <a:pt x="35" y="10"/>
                  <a:pt x="37" y="8"/>
                </a:cubicBezTo>
                <a:cubicBezTo>
                  <a:pt x="38" y="8"/>
                  <a:pt x="38" y="8"/>
                  <a:pt x="38" y="8"/>
                </a:cubicBezTo>
                <a:cubicBezTo>
                  <a:pt x="40" y="7"/>
                  <a:pt x="43" y="10"/>
                  <a:pt x="43" y="12"/>
                </a:cubicBezTo>
                <a:cubicBezTo>
                  <a:pt x="46" y="10"/>
                  <a:pt x="49" y="8"/>
                  <a:pt x="52" y="5"/>
                </a:cubicBezTo>
                <a:cubicBezTo>
                  <a:pt x="54" y="3"/>
                  <a:pt x="57" y="4"/>
                  <a:pt x="58" y="7"/>
                </a:cubicBezTo>
                <a:cubicBezTo>
                  <a:pt x="58" y="7"/>
                  <a:pt x="58" y="8"/>
                  <a:pt x="58" y="9"/>
                </a:cubicBezTo>
                <a:cubicBezTo>
                  <a:pt x="59" y="8"/>
                  <a:pt x="60" y="7"/>
                  <a:pt x="61" y="6"/>
                </a:cubicBezTo>
                <a:cubicBezTo>
                  <a:pt x="62" y="4"/>
                  <a:pt x="64" y="4"/>
                  <a:pt x="65" y="6"/>
                </a:cubicBezTo>
                <a:cubicBezTo>
                  <a:pt x="66" y="6"/>
                  <a:pt x="67" y="7"/>
                  <a:pt x="67" y="8"/>
                </a:cubicBezTo>
                <a:cubicBezTo>
                  <a:pt x="67" y="8"/>
                  <a:pt x="68" y="8"/>
                  <a:pt x="68" y="8"/>
                </a:cubicBezTo>
                <a:cubicBezTo>
                  <a:pt x="70" y="6"/>
                  <a:pt x="71" y="5"/>
                  <a:pt x="72" y="4"/>
                </a:cubicBezTo>
                <a:cubicBezTo>
                  <a:pt x="73" y="4"/>
                  <a:pt x="73" y="4"/>
                  <a:pt x="73" y="4"/>
                </a:cubicBezTo>
                <a:cubicBezTo>
                  <a:pt x="75" y="4"/>
                  <a:pt x="77" y="7"/>
                  <a:pt x="76" y="9"/>
                </a:cubicBezTo>
                <a:cubicBezTo>
                  <a:pt x="76" y="9"/>
                  <a:pt x="76" y="9"/>
                  <a:pt x="76" y="9"/>
                </a:cubicBezTo>
                <a:cubicBezTo>
                  <a:pt x="71" y="14"/>
                  <a:pt x="65" y="18"/>
                  <a:pt x="60" y="22"/>
                </a:cubicBezTo>
                <a:cubicBezTo>
                  <a:pt x="58" y="24"/>
                  <a:pt x="56" y="26"/>
                  <a:pt x="53" y="28"/>
                </a:cubicBezTo>
                <a:cubicBezTo>
                  <a:pt x="53" y="29"/>
                  <a:pt x="52" y="29"/>
                  <a:pt x="52" y="29"/>
                </a:cubicBezTo>
                <a:cubicBezTo>
                  <a:pt x="53" y="29"/>
                  <a:pt x="54" y="28"/>
                  <a:pt x="54" y="28"/>
                </a:cubicBezTo>
                <a:cubicBezTo>
                  <a:pt x="58" y="25"/>
                  <a:pt x="62" y="22"/>
                  <a:pt x="66" y="19"/>
                </a:cubicBezTo>
                <a:cubicBezTo>
                  <a:pt x="69" y="17"/>
                  <a:pt x="72" y="14"/>
                  <a:pt x="75" y="12"/>
                </a:cubicBezTo>
                <a:cubicBezTo>
                  <a:pt x="76" y="11"/>
                  <a:pt x="78" y="10"/>
                  <a:pt x="80" y="8"/>
                </a:cubicBezTo>
                <a:cubicBezTo>
                  <a:pt x="80" y="8"/>
                  <a:pt x="83" y="9"/>
                  <a:pt x="83" y="10"/>
                </a:cubicBezTo>
                <a:cubicBezTo>
                  <a:pt x="83" y="11"/>
                  <a:pt x="83" y="11"/>
                  <a:pt x="84" y="12"/>
                </a:cubicBezTo>
                <a:cubicBezTo>
                  <a:pt x="86" y="10"/>
                  <a:pt x="88" y="9"/>
                  <a:pt x="91" y="7"/>
                </a:cubicBezTo>
                <a:cubicBezTo>
                  <a:pt x="94" y="6"/>
                  <a:pt x="96" y="4"/>
                  <a:pt x="99" y="2"/>
                </a:cubicBezTo>
                <a:cubicBezTo>
                  <a:pt x="100" y="1"/>
                  <a:pt x="101" y="1"/>
                  <a:pt x="102" y="2"/>
                </a:cubicBezTo>
                <a:cubicBezTo>
                  <a:pt x="104" y="3"/>
                  <a:pt x="105" y="4"/>
                  <a:pt x="107" y="5"/>
                </a:cubicBezTo>
                <a:cubicBezTo>
                  <a:pt x="108" y="6"/>
                  <a:pt x="108" y="7"/>
                  <a:pt x="107" y="8"/>
                </a:cubicBezTo>
                <a:cubicBezTo>
                  <a:pt x="105" y="11"/>
                  <a:pt x="102" y="13"/>
                  <a:pt x="99" y="15"/>
                </a:cubicBezTo>
                <a:cubicBezTo>
                  <a:pt x="98" y="16"/>
                  <a:pt x="97" y="17"/>
                  <a:pt x="96" y="18"/>
                </a:cubicBezTo>
                <a:cubicBezTo>
                  <a:pt x="96" y="18"/>
                  <a:pt x="97" y="18"/>
                  <a:pt x="97" y="18"/>
                </a:cubicBezTo>
                <a:cubicBezTo>
                  <a:pt x="98" y="17"/>
                  <a:pt x="100" y="15"/>
                  <a:pt x="102" y="14"/>
                </a:cubicBezTo>
                <a:cubicBezTo>
                  <a:pt x="102" y="14"/>
                  <a:pt x="103" y="13"/>
                  <a:pt x="103" y="14"/>
                </a:cubicBezTo>
                <a:cubicBezTo>
                  <a:pt x="104" y="14"/>
                  <a:pt x="105" y="13"/>
                  <a:pt x="105" y="13"/>
                </a:cubicBezTo>
                <a:cubicBezTo>
                  <a:pt x="109" y="10"/>
                  <a:pt x="114" y="8"/>
                  <a:pt x="118" y="6"/>
                </a:cubicBezTo>
                <a:cubicBezTo>
                  <a:pt x="119" y="5"/>
                  <a:pt x="121" y="5"/>
                  <a:pt x="122" y="4"/>
                </a:cubicBezTo>
                <a:cubicBezTo>
                  <a:pt x="123" y="3"/>
                  <a:pt x="124" y="2"/>
                  <a:pt x="125" y="1"/>
                </a:cubicBezTo>
                <a:cubicBezTo>
                  <a:pt x="126" y="1"/>
                  <a:pt x="127" y="0"/>
                  <a:pt x="128" y="1"/>
                </a:cubicBezTo>
                <a:cubicBezTo>
                  <a:pt x="128" y="2"/>
                  <a:pt x="129" y="2"/>
                  <a:pt x="130" y="3"/>
                </a:cubicBezTo>
                <a:cubicBezTo>
                  <a:pt x="131" y="4"/>
                  <a:pt x="130" y="6"/>
                  <a:pt x="129" y="7"/>
                </a:cubicBezTo>
                <a:cubicBezTo>
                  <a:pt x="128" y="8"/>
                  <a:pt x="128" y="8"/>
                  <a:pt x="127" y="8"/>
                </a:cubicBezTo>
                <a:cubicBezTo>
                  <a:pt x="126" y="9"/>
                  <a:pt x="126" y="10"/>
                  <a:pt x="127" y="11"/>
                </a:cubicBezTo>
                <a:cubicBezTo>
                  <a:pt x="125" y="13"/>
                  <a:pt x="122" y="15"/>
                  <a:pt x="120" y="17"/>
                </a:cubicBezTo>
                <a:cubicBezTo>
                  <a:pt x="120" y="17"/>
                  <a:pt x="120" y="17"/>
                  <a:pt x="121" y="18"/>
                </a:cubicBezTo>
                <a:cubicBezTo>
                  <a:pt x="127" y="13"/>
                  <a:pt x="134" y="8"/>
                  <a:pt x="141" y="3"/>
                </a:cubicBezTo>
                <a:cubicBezTo>
                  <a:pt x="142" y="3"/>
                  <a:pt x="143" y="4"/>
                  <a:pt x="144" y="5"/>
                </a:cubicBezTo>
                <a:cubicBezTo>
                  <a:pt x="145" y="4"/>
                  <a:pt x="146" y="3"/>
                  <a:pt x="147" y="3"/>
                </a:cubicBezTo>
                <a:cubicBezTo>
                  <a:pt x="148" y="3"/>
                  <a:pt x="149" y="3"/>
                  <a:pt x="149" y="4"/>
                </a:cubicBezTo>
                <a:cubicBezTo>
                  <a:pt x="150" y="5"/>
                  <a:pt x="150" y="5"/>
                  <a:pt x="151" y="6"/>
                </a:cubicBezTo>
                <a:cubicBezTo>
                  <a:pt x="152" y="5"/>
                  <a:pt x="154" y="3"/>
                  <a:pt x="156" y="2"/>
                </a:cubicBezTo>
                <a:cubicBezTo>
                  <a:pt x="157" y="3"/>
                  <a:pt x="158" y="4"/>
                  <a:pt x="160" y="6"/>
                </a:cubicBezTo>
                <a:cubicBezTo>
                  <a:pt x="160" y="5"/>
                  <a:pt x="161" y="5"/>
                  <a:pt x="161" y="4"/>
                </a:cubicBezTo>
                <a:cubicBezTo>
                  <a:pt x="162" y="3"/>
                  <a:pt x="163" y="3"/>
                  <a:pt x="164" y="4"/>
                </a:cubicBezTo>
                <a:cubicBezTo>
                  <a:pt x="165" y="5"/>
                  <a:pt x="166" y="6"/>
                  <a:pt x="166" y="8"/>
                </a:cubicBezTo>
                <a:cubicBezTo>
                  <a:pt x="166" y="8"/>
                  <a:pt x="166" y="9"/>
                  <a:pt x="166" y="9"/>
                </a:cubicBezTo>
                <a:cubicBezTo>
                  <a:pt x="169" y="8"/>
                  <a:pt x="171" y="8"/>
                  <a:pt x="173" y="7"/>
                </a:cubicBezTo>
                <a:cubicBezTo>
                  <a:pt x="173" y="7"/>
                  <a:pt x="174" y="6"/>
                  <a:pt x="174" y="6"/>
                </a:cubicBezTo>
                <a:cubicBezTo>
                  <a:pt x="175" y="5"/>
                  <a:pt x="175" y="5"/>
                  <a:pt x="176" y="5"/>
                </a:cubicBezTo>
                <a:cubicBezTo>
                  <a:pt x="178" y="5"/>
                  <a:pt x="180" y="7"/>
                  <a:pt x="180" y="9"/>
                </a:cubicBezTo>
                <a:cubicBezTo>
                  <a:pt x="180" y="10"/>
                  <a:pt x="179" y="10"/>
                  <a:pt x="179" y="11"/>
                </a:cubicBezTo>
                <a:cubicBezTo>
                  <a:pt x="181" y="9"/>
                  <a:pt x="183" y="8"/>
                  <a:pt x="185" y="6"/>
                </a:cubicBezTo>
                <a:cubicBezTo>
                  <a:pt x="185" y="5"/>
                  <a:pt x="186" y="4"/>
                  <a:pt x="187" y="4"/>
                </a:cubicBezTo>
                <a:cubicBezTo>
                  <a:pt x="188" y="5"/>
                  <a:pt x="190" y="5"/>
                  <a:pt x="190" y="7"/>
                </a:cubicBezTo>
                <a:cubicBezTo>
                  <a:pt x="190" y="7"/>
                  <a:pt x="190" y="7"/>
                  <a:pt x="191" y="8"/>
                </a:cubicBezTo>
                <a:cubicBezTo>
                  <a:pt x="192" y="9"/>
                  <a:pt x="194" y="11"/>
                  <a:pt x="195" y="13"/>
                </a:cubicBezTo>
                <a:cubicBezTo>
                  <a:pt x="192" y="17"/>
                  <a:pt x="189" y="20"/>
                  <a:pt x="186" y="24"/>
                </a:cubicBezTo>
                <a:cubicBezTo>
                  <a:pt x="186" y="24"/>
                  <a:pt x="186" y="24"/>
                  <a:pt x="187" y="25"/>
                </a:cubicBezTo>
                <a:cubicBezTo>
                  <a:pt x="188" y="24"/>
                  <a:pt x="189" y="23"/>
                  <a:pt x="190" y="22"/>
                </a:cubicBezTo>
                <a:cubicBezTo>
                  <a:pt x="190" y="22"/>
                  <a:pt x="191" y="21"/>
                  <a:pt x="192" y="22"/>
                </a:cubicBezTo>
                <a:cubicBezTo>
                  <a:pt x="195" y="23"/>
                  <a:pt x="196" y="25"/>
                  <a:pt x="194" y="28"/>
                </a:cubicBezTo>
                <a:cubicBezTo>
                  <a:pt x="194" y="29"/>
                  <a:pt x="193" y="30"/>
                  <a:pt x="192" y="31"/>
                </a:cubicBezTo>
                <a:cubicBezTo>
                  <a:pt x="192" y="31"/>
                  <a:pt x="192" y="31"/>
                  <a:pt x="192" y="32"/>
                </a:cubicBezTo>
                <a:cubicBezTo>
                  <a:pt x="193" y="31"/>
                  <a:pt x="194" y="30"/>
                  <a:pt x="195" y="30"/>
                </a:cubicBezTo>
                <a:cubicBezTo>
                  <a:pt x="197" y="28"/>
                  <a:pt x="199" y="28"/>
                  <a:pt x="200" y="30"/>
                </a:cubicBezTo>
                <a:cubicBezTo>
                  <a:pt x="201" y="31"/>
                  <a:pt x="201" y="31"/>
                  <a:pt x="202" y="32"/>
                </a:cubicBezTo>
                <a:cubicBezTo>
                  <a:pt x="199" y="36"/>
                  <a:pt x="196" y="40"/>
                  <a:pt x="193" y="44"/>
                </a:cubicBezTo>
                <a:cubicBezTo>
                  <a:pt x="191" y="46"/>
                  <a:pt x="191" y="47"/>
                  <a:pt x="193" y="48"/>
                </a:cubicBezTo>
                <a:cubicBezTo>
                  <a:pt x="193" y="48"/>
                  <a:pt x="193" y="48"/>
                  <a:pt x="193" y="48"/>
                </a:cubicBezTo>
                <a:cubicBezTo>
                  <a:pt x="194" y="48"/>
                  <a:pt x="195" y="46"/>
                  <a:pt x="196" y="46"/>
                </a:cubicBezTo>
                <a:cubicBezTo>
                  <a:pt x="197" y="47"/>
                  <a:pt x="198" y="48"/>
                  <a:pt x="199" y="49"/>
                </a:cubicBezTo>
                <a:cubicBezTo>
                  <a:pt x="200" y="50"/>
                  <a:pt x="199" y="51"/>
                  <a:pt x="199" y="52"/>
                </a:cubicBezTo>
                <a:cubicBezTo>
                  <a:pt x="197" y="54"/>
                  <a:pt x="196" y="56"/>
                  <a:pt x="194" y="58"/>
                </a:cubicBezTo>
                <a:cubicBezTo>
                  <a:pt x="194" y="58"/>
                  <a:pt x="194" y="59"/>
                  <a:pt x="194" y="59"/>
                </a:cubicBezTo>
                <a:cubicBezTo>
                  <a:pt x="195" y="59"/>
                  <a:pt x="195" y="58"/>
                  <a:pt x="195" y="58"/>
                </a:cubicBezTo>
                <a:cubicBezTo>
                  <a:pt x="196" y="56"/>
                  <a:pt x="198" y="56"/>
                  <a:pt x="199" y="58"/>
                </a:cubicBezTo>
                <a:cubicBezTo>
                  <a:pt x="202" y="61"/>
                  <a:pt x="201" y="61"/>
                  <a:pt x="199" y="63"/>
                </a:cubicBezTo>
                <a:cubicBezTo>
                  <a:pt x="198" y="65"/>
                  <a:pt x="197" y="67"/>
                  <a:pt x="195" y="68"/>
                </a:cubicBezTo>
                <a:cubicBezTo>
                  <a:pt x="198" y="69"/>
                  <a:pt x="198" y="71"/>
                  <a:pt x="199" y="72"/>
                </a:cubicBezTo>
                <a:cubicBezTo>
                  <a:pt x="199" y="72"/>
                  <a:pt x="199" y="73"/>
                  <a:pt x="199" y="74"/>
                </a:cubicBezTo>
                <a:cubicBezTo>
                  <a:pt x="197" y="77"/>
                  <a:pt x="195" y="80"/>
                  <a:pt x="194" y="83"/>
                </a:cubicBezTo>
                <a:cubicBezTo>
                  <a:pt x="193" y="83"/>
                  <a:pt x="193" y="84"/>
                  <a:pt x="193" y="85"/>
                </a:cubicBezTo>
                <a:cubicBezTo>
                  <a:pt x="193" y="86"/>
                  <a:pt x="193" y="87"/>
                  <a:pt x="192" y="88"/>
                </a:cubicBezTo>
                <a:cubicBezTo>
                  <a:pt x="191" y="88"/>
                  <a:pt x="191" y="89"/>
                  <a:pt x="191" y="89"/>
                </a:cubicBezTo>
                <a:cubicBezTo>
                  <a:pt x="191" y="90"/>
                  <a:pt x="192" y="90"/>
                  <a:pt x="192" y="90"/>
                </a:cubicBezTo>
                <a:cubicBezTo>
                  <a:pt x="194" y="91"/>
                  <a:pt x="195" y="93"/>
                  <a:pt x="194" y="95"/>
                </a:cubicBezTo>
                <a:cubicBezTo>
                  <a:pt x="193" y="97"/>
                  <a:pt x="192" y="99"/>
                  <a:pt x="191" y="101"/>
                </a:cubicBezTo>
                <a:cubicBezTo>
                  <a:pt x="192" y="101"/>
                  <a:pt x="193" y="101"/>
                  <a:pt x="194" y="100"/>
                </a:cubicBezTo>
                <a:cubicBezTo>
                  <a:pt x="195" y="99"/>
                  <a:pt x="196" y="100"/>
                  <a:pt x="197" y="100"/>
                </a:cubicBezTo>
                <a:cubicBezTo>
                  <a:pt x="198" y="100"/>
                  <a:pt x="199" y="101"/>
                  <a:pt x="199" y="102"/>
                </a:cubicBezTo>
                <a:cubicBezTo>
                  <a:pt x="200" y="104"/>
                  <a:pt x="199" y="106"/>
                  <a:pt x="198" y="107"/>
                </a:cubicBezTo>
                <a:cubicBezTo>
                  <a:pt x="200" y="108"/>
                  <a:pt x="201" y="109"/>
                  <a:pt x="200" y="111"/>
                </a:cubicBezTo>
                <a:cubicBezTo>
                  <a:pt x="200" y="113"/>
                  <a:pt x="199" y="114"/>
                  <a:pt x="197" y="116"/>
                </a:cubicBezTo>
                <a:cubicBezTo>
                  <a:pt x="198" y="116"/>
                  <a:pt x="199" y="117"/>
                  <a:pt x="200" y="117"/>
                </a:cubicBezTo>
                <a:cubicBezTo>
                  <a:pt x="202" y="118"/>
                  <a:pt x="202" y="120"/>
                  <a:pt x="201" y="122"/>
                </a:cubicBezTo>
                <a:cubicBezTo>
                  <a:pt x="199" y="124"/>
                  <a:pt x="198" y="126"/>
                  <a:pt x="196" y="128"/>
                </a:cubicBezTo>
                <a:cubicBezTo>
                  <a:pt x="198" y="129"/>
                  <a:pt x="201" y="129"/>
                  <a:pt x="200" y="131"/>
                </a:cubicBezTo>
                <a:cubicBezTo>
                  <a:pt x="200" y="133"/>
                  <a:pt x="199" y="135"/>
                  <a:pt x="198" y="137"/>
                </a:cubicBezTo>
                <a:cubicBezTo>
                  <a:pt x="198" y="137"/>
                  <a:pt x="198" y="137"/>
                  <a:pt x="198" y="137"/>
                </a:cubicBezTo>
                <a:cubicBezTo>
                  <a:pt x="199" y="137"/>
                  <a:pt x="200" y="137"/>
                  <a:pt x="200" y="138"/>
                </a:cubicBezTo>
                <a:cubicBezTo>
                  <a:pt x="201" y="140"/>
                  <a:pt x="201" y="141"/>
                  <a:pt x="200" y="143"/>
                </a:cubicBezTo>
                <a:cubicBezTo>
                  <a:pt x="200" y="144"/>
                  <a:pt x="199" y="144"/>
                  <a:pt x="199" y="145"/>
                </a:cubicBezTo>
                <a:cubicBezTo>
                  <a:pt x="198" y="146"/>
                  <a:pt x="198" y="146"/>
                  <a:pt x="199" y="146"/>
                </a:cubicBezTo>
                <a:cubicBezTo>
                  <a:pt x="201" y="149"/>
                  <a:pt x="199" y="152"/>
                  <a:pt x="197" y="154"/>
                </a:cubicBezTo>
                <a:cubicBezTo>
                  <a:pt x="197" y="154"/>
                  <a:pt x="197" y="154"/>
                  <a:pt x="197" y="154"/>
                </a:cubicBezTo>
                <a:cubicBezTo>
                  <a:pt x="198" y="156"/>
                  <a:pt x="198" y="159"/>
                  <a:pt x="199" y="161"/>
                </a:cubicBezTo>
                <a:cubicBezTo>
                  <a:pt x="199" y="162"/>
                  <a:pt x="198" y="163"/>
                  <a:pt x="197" y="164"/>
                </a:cubicBezTo>
                <a:cubicBezTo>
                  <a:pt x="195" y="166"/>
                  <a:pt x="193" y="169"/>
                  <a:pt x="190" y="171"/>
                </a:cubicBezTo>
                <a:cubicBezTo>
                  <a:pt x="188" y="173"/>
                  <a:pt x="186" y="175"/>
                  <a:pt x="184" y="176"/>
                </a:cubicBezTo>
                <a:cubicBezTo>
                  <a:pt x="183" y="177"/>
                  <a:pt x="183" y="177"/>
                  <a:pt x="183" y="177"/>
                </a:cubicBezTo>
                <a:cubicBezTo>
                  <a:pt x="181" y="176"/>
                  <a:pt x="181" y="177"/>
                  <a:pt x="180" y="178"/>
                </a:cubicBezTo>
                <a:cubicBezTo>
                  <a:pt x="179" y="178"/>
                  <a:pt x="178" y="179"/>
                  <a:pt x="177" y="178"/>
                </a:cubicBezTo>
                <a:cubicBezTo>
                  <a:pt x="176" y="177"/>
                  <a:pt x="175" y="176"/>
                  <a:pt x="174" y="176"/>
                </a:cubicBezTo>
                <a:cubicBezTo>
                  <a:pt x="173" y="177"/>
                  <a:pt x="172" y="178"/>
                  <a:pt x="171" y="179"/>
                </a:cubicBezTo>
                <a:cubicBezTo>
                  <a:pt x="170" y="181"/>
                  <a:pt x="169" y="181"/>
                  <a:pt x="167" y="180"/>
                </a:cubicBezTo>
                <a:cubicBezTo>
                  <a:pt x="166" y="179"/>
                  <a:pt x="165" y="178"/>
                  <a:pt x="165" y="176"/>
                </a:cubicBezTo>
                <a:cubicBezTo>
                  <a:pt x="164" y="176"/>
                  <a:pt x="163" y="177"/>
                  <a:pt x="162" y="177"/>
                </a:cubicBezTo>
                <a:cubicBezTo>
                  <a:pt x="161" y="177"/>
                  <a:pt x="160" y="176"/>
                  <a:pt x="159" y="176"/>
                </a:cubicBezTo>
                <a:cubicBezTo>
                  <a:pt x="158" y="175"/>
                  <a:pt x="158" y="175"/>
                  <a:pt x="157" y="176"/>
                </a:cubicBezTo>
                <a:cubicBezTo>
                  <a:pt x="155" y="176"/>
                  <a:pt x="154" y="176"/>
                  <a:pt x="153" y="175"/>
                </a:cubicBezTo>
                <a:cubicBezTo>
                  <a:pt x="153" y="175"/>
                  <a:pt x="152" y="174"/>
                  <a:pt x="152" y="175"/>
                </a:cubicBezTo>
                <a:cubicBezTo>
                  <a:pt x="150" y="175"/>
                  <a:pt x="149" y="175"/>
                  <a:pt x="148" y="174"/>
                </a:cubicBezTo>
                <a:cubicBezTo>
                  <a:pt x="147" y="174"/>
                  <a:pt x="146" y="174"/>
                  <a:pt x="146" y="174"/>
                </a:cubicBezTo>
                <a:cubicBezTo>
                  <a:pt x="144" y="176"/>
                  <a:pt x="143" y="177"/>
                  <a:pt x="140" y="175"/>
                </a:cubicBezTo>
                <a:cubicBezTo>
                  <a:pt x="140" y="175"/>
                  <a:pt x="139" y="175"/>
                  <a:pt x="138" y="175"/>
                </a:cubicBezTo>
                <a:cubicBezTo>
                  <a:pt x="137" y="175"/>
                  <a:pt x="137" y="175"/>
                  <a:pt x="136" y="175"/>
                </a:cubicBezTo>
                <a:cubicBezTo>
                  <a:pt x="135" y="177"/>
                  <a:pt x="134" y="177"/>
                  <a:pt x="132" y="176"/>
                </a:cubicBezTo>
                <a:cubicBezTo>
                  <a:pt x="132" y="176"/>
                  <a:pt x="131" y="176"/>
                  <a:pt x="130" y="176"/>
                </a:cubicBezTo>
                <a:cubicBezTo>
                  <a:pt x="128" y="178"/>
                  <a:pt x="128" y="178"/>
                  <a:pt x="126" y="177"/>
                </a:cubicBezTo>
                <a:close/>
                <a:moveTo>
                  <a:pt x="48" y="157"/>
                </a:moveTo>
                <a:cubicBezTo>
                  <a:pt x="48" y="157"/>
                  <a:pt x="48" y="157"/>
                  <a:pt x="47" y="156"/>
                </a:cubicBezTo>
                <a:cubicBezTo>
                  <a:pt x="45" y="159"/>
                  <a:pt x="43" y="161"/>
                  <a:pt x="41" y="163"/>
                </a:cubicBezTo>
                <a:cubicBezTo>
                  <a:pt x="41" y="163"/>
                  <a:pt x="42" y="163"/>
                  <a:pt x="42" y="163"/>
                </a:cubicBezTo>
                <a:cubicBezTo>
                  <a:pt x="44" y="161"/>
                  <a:pt x="45" y="160"/>
                  <a:pt x="47" y="158"/>
                </a:cubicBezTo>
                <a:cubicBezTo>
                  <a:pt x="48" y="158"/>
                  <a:pt x="48" y="157"/>
                  <a:pt x="48" y="157"/>
                </a:cubicBezTo>
                <a:close/>
                <a:moveTo>
                  <a:pt x="21" y="127"/>
                </a:moveTo>
                <a:cubicBezTo>
                  <a:pt x="21" y="127"/>
                  <a:pt x="21" y="127"/>
                  <a:pt x="21" y="128"/>
                </a:cubicBezTo>
                <a:cubicBezTo>
                  <a:pt x="23" y="126"/>
                  <a:pt x="24" y="125"/>
                  <a:pt x="26" y="124"/>
                </a:cubicBezTo>
                <a:cubicBezTo>
                  <a:pt x="26" y="123"/>
                  <a:pt x="26" y="123"/>
                  <a:pt x="26" y="121"/>
                </a:cubicBezTo>
                <a:cubicBezTo>
                  <a:pt x="24" y="123"/>
                  <a:pt x="23" y="125"/>
                  <a:pt x="21" y="127"/>
                </a:cubicBezTo>
                <a:close/>
                <a:moveTo>
                  <a:pt x="69" y="24"/>
                </a:moveTo>
                <a:cubicBezTo>
                  <a:pt x="67" y="25"/>
                  <a:pt x="68" y="27"/>
                  <a:pt x="68" y="28"/>
                </a:cubicBezTo>
                <a:cubicBezTo>
                  <a:pt x="69" y="27"/>
                  <a:pt x="70" y="26"/>
                  <a:pt x="69" y="24"/>
                </a:cubicBezTo>
                <a:close/>
              </a:path>
            </a:pathLst>
          </a:cu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txBody>
          <a:bodyPr lIns="180000" tIns="108000" rIns="180000" bIns="36000" anchor="ctr"/>
          <a:lstStyle>
            <a:lvl1pPr marL="342900" indent="-34290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171450" indent="-17145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defTabSz="12176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defTabSz="12176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defTabSz="12176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defTabSz="12176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marL="0" lvl="0" indent="0" algn="ctr">
              <a:lnSpc>
                <a:spcPct val="90000"/>
              </a:lnSpc>
            </a:pPr>
            <a:r>
              <a:rPr lang="it-IT" sz="1600" dirty="0" err="1">
                <a:solidFill>
                  <a:schemeClr val="accent1"/>
                </a:solidFill>
                <a:latin typeface="+mn-lt"/>
              </a:rPr>
              <a:t>Ongoing</a:t>
            </a:r>
            <a:r>
              <a:rPr lang="it-IT" sz="1600" b="1" dirty="0">
                <a:solidFill>
                  <a:schemeClr val="accent1"/>
                </a:solidFill>
                <a:latin typeface="+mn-lt"/>
              </a:rPr>
              <a:t> </a:t>
            </a:r>
            <a:r>
              <a:rPr lang="it-IT" sz="1600" b="1" dirty="0" err="1">
                <a:solidFill>
                  <a:schemeClr val="accent1"/>
                </a:solidFill>
                <a:latin typeface="+mn-lt"/>
              </a:rPr>
              <a:t>contibution</a:t>
            </a:r>
            <a:r>
              <a:rPr lang="it-IT" sz="1600" b="1" dirty="0">
                <a:solidFill>
                  <a:schemeClr val="accent1"/>
                </a:solidFill>
                <a:latin typeface="+mn-lt"/>
              </a:rPr>
              <a:t> </a:t>
            </a:r>
            <a:r>
              <a:rPr lang="it-IT" sz="1600" dirty="0">
                <a:solidFill>
                  <a:schemeClr val="accent1"/>
                </a:solidFill>
                <a:latin typeface="+mn-lt"/>
              </a:rPr>
              <a:t>to </a:t>
            </a:r>
            <a:r>
              <a:rPr lang="it-IT" sz="1600" b="1" dirty="0">
                <a:solidFill>
                  <a:schemeClr val="accent1"/>
                </a:solidFill>
                <a:latin typeface="+mn-lt"/>
              </a:rPr>
              <a:t>The Urban </a:t>
            </a:r>
            <a:r>
              <a:rPr lang="it-IT" sz="1600" b="1" dirty="0" err="1">
                <a:solidFill>
                  <a:schemeClr val="accent1"/>
                </a:solidFill>
                <a:latin typeface="+mn-lt"/>
              </a:rPr>
              <a:t>Mobility</a:t>
            </a:r>
            <a:r>
              <a:rPr lang="it-IT" sz="1600" b="1" dirty="0">
                <a:solidFill>
                  <a:schemeClr val="accent1"/>
                </a:solidFill>
                <a:latin typeface="+mn-lt"/>
              </a:rPr>
              <a:t> </a:t>
            </a:r>
            <a:r>
              <a:rPr lang="it-IT" sz="1600" b="1" dirty="0" err="1">
                <a:solidFill>
                  <a:schemeClr val="accent1"/>
                </a:solidFill>
                <a:latin typeface="+mn-lt"/>
              </a:rPr>
              <a:t>Council</a:t>
            </a:r>
            <a:endParaRPr kumimoji="0" lang="it-IT" sz="1600" b="1" i="0" u="none" strike="noStrike" kern="1200" cap="none" spc="0" normalizeH="0" baseline="0" dirty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+mn-lt"/>
            </a:endParaRPr>
          </a:p>
        </p:txBody>
      </p:sp>
      <p:sp>
        <p:nvSpPr>
          <p:cNvPr id="200" name="Freeform 885">
            <a:extLst>
              <a:ext uri="{FF2B5EF4-FFF2-40B4-BE49-F238E27FC236}">
                <a16:creationId xmlns:a16="http://schemas.microsoft.com/office/drawing/2014/main" id="{CDA71C5A-701E-6C4A-4E92-D12397A1ED18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1105918" y="1169888"/>
            <a:ext cx="397844" cy="479270"/>
          </a:xfrm>
          <a:custGeom>
            <a:avLst/>
            <a:gdLst>
              <a:gd name="T0" fmla="*/ 234 w 256"/>
              <a:gd name="T1" fmla="*/ 171 h 310"/>
              <a:gd name="T2" fmla="*/ 208 w 256"/>
              <a:gd name="T3" fmla="*/ 160 h 310"/>
              <a:gd name="T4" fmla="*/ 200 w 256"/>
              <a:gd name="T5" fmla="*/ 133 h 310"/>
              <a:gd name="T6" fmla="*/ 96 w 256"/>
              <a:gd name="T7" fmla="*/ 107 h 310"/>
              <a:gd name="T8" fmla="*/ 53 w 256"/>
              <a:gd name="T9" fmla="*/ 136 h 310"/>
              <a:gd name="T10" fmla="*/ 32 w 256"/>
              <a:gd name="T11" fmla="*/ 160 h 310"/>
              <a:gd name="T12" fmla="*/ 25 w 256"/>
              <a:gd name="T13" fmla="*/ 179 h 310"/>
              <a:gd name="T14" fmla="*/ 0 w 256"/>
              <a:gd name="T15" fmla="*/ 245 h 310"/>
              <a:gd name="T16" fmla="*/ 10 w 256"/>
              <a:gd name="T17" fmla="*/ 265 h 310"/>
              <a:gd name="T18" fmla="*/ 21 w 256"/>
              <a:gd name="T19" fmla="*/ 310 h 310"/>
              <a:gd name="T20" fmla="*/ 74 w 256"/>
              <a:gd name="T21" fmla="*/ 299 h 310"/>
              <a:gd name="T22" fmla="*/ 128 w 256"/>
              <a:gd name="T23" fmla="*/ 288 h 310"/>
              <a:gd name="T24" fmla="*/ 181 w 256"/>
              <a:gd name="T25" fmla="*/ 299 h 310"/>
              <a:gd name="T26" fmla="*/ 234 w 256"/>
              <a:gd name="T27" fmla="*/ 310 h 310"/>
              <a:gd name="T28" fmla="*/ 245 w 256"/>
              <a:gd name="T29" fmla="*/ 265 h 310"/>
              <a:gd name="T30" fmla="*/ 256 w 256"/>
              <a:gd name="T31" fmla="*/ 245 h 310"/>
              <a:gd name="T32" fmla="*/ 230 w 256"/>
              <a:gd name="T33" fmla="*/ 179 h 310"/>
              <a:gd name="T34" fmla="*/ 160 w 256"/>
              <a:gd name="T35" fmla="*/ 128 h 310"/>
              <a:gd name="T36" fmla="*/ 189 w 256"/>
              <a:gd name="T37" fmla="*/ 171 h 310"/>
              <a:gd name="T38" fmla="*/ 73 w 256"/>
              <a:gd name="T39" fmla="*/ 144 h 310"/>
              <a:gd name="T40" fmla="*/ 53 w 256"/>
              <a:gd name="T41" fmla="*/ 288 h 310"/>
              <a:gd name="T42" fmla="*/ 32 w 256"/>
              <a:gd name="T43" fmla="*/ 277 h 310"/>
              <a:gd name="T44" fmla="*/ 53 w 256"/>
              <a:gd name="T45" fmla="*/ 288 h 310"/>
              <a:gd name="T46" fmla="*/ 21 w 256"/>
              <a:gd name="T47" fmla="*/ 224 h 310"/>
              <a:gd name="T48" fmla="*/ 202 w 256"/>
              <a:gd name="T49" fmla="*/ 192 h 310"/>
              <a:gd name="T50" fmla="*/ 234 w 256"/>
              <a:gd name="T51" fmla="*/ 245 h 310"/>
              <a:gd name="T52" fmla="*/ 21 w 256"/>
              <a:gd name="T53" fmla="*/ 245 h 310"/>
              <a:gd name="T54" fmla="*/ 202 w 256"/>
              <a:gd name="T55" fmla="*/ 288 h 310"/>
              <a:gd name="T56" fmla="*/ 224 w 256"/>
              <a:gd name="T57" fmla="*/ 277 h 310"/>
              <a:gd name="T58" fmla="*/ 160 w 256"/>
              <a:gd name="T59" fmla="*/ 224 h 310"/>
              <a:gd name="T60" fmla="*/ 106 w 256"/>
              <a:gd name="T61" fmla="*/ 235 h 310"/>
              <a:gd name="T62" fmla="*/ 106 w 256"/>
              <a:gd name="T63" fmla="*/ 214 h 310"/>
              <a:gd name="T64" fmla="*/ 160 w 256"/>
              <a:gd name="T65" fmla="*/ 224 h 310"/>
              <a:gd name="T66" fmla="*/ 57 w 256"/>
              <a:gd name="T67" fmla="*/ 239 h 310"/>
              <a:gd name="T68" fmla="*/ 57 w 256"/>
              <a:gd name="T69" fmla="*/ 218 h 310"/>
              <a:gd name="T70" fmla="*/ 208 w 256"/>
              <a:gd name="T71" fmla="*/ 228 h 310"/>
              <a:gd name="T72" fmla="*/ 188 w 256"/>
              <a:gd name="T73" fmla="*/ 228 h 310"/>
              <a:gd name="T74" fmla="*/ 208 w 256"/>
              <a:gd name="T75" fmla="*/ 228 h 310"/>
              <a:gd name="T76" fmla="*/ 13 w 256"/>
              <a:gd name="T77" fmla="*/ 55 h 310"/>
              <a:gd name="T78" fmla="*/ 242 w 256"/>
              <a:gd name="T79" fmla="*/ 55 h 310"/>
              <a:gd name="T80" fmla="*/ 226 w 256"/>
              <a:gd name="T81" fmla="*/ 69 h 310"/>
              <a:gd name="T82" fmla="*/ 29 w 256"/>
              <a:gd name="T83" fmla="*/ 69 h 310"/>
              <a:gd name="T84" fmla="*/ 14 w 256"/>
              <a:gd name="T85" fmla="*/ 70 h 310"/>
              <a:gd name="T86" fmla="*/ 211 w 256"/>
              <a:gd name="T87" fmla="*/ 104 h 310"/>
              <a:gd name="T88" fmla="*/ 128 w 256"/>
              <a:gd name="T89" fmla="*/ 70 h 310"/>
              <a:gd name="T90" fmla="*/ 51 w 256"/>
              <a:gd name="T91" fmla="*/ 107 h 310"/>
              <a:gd name="T92" fmla="*/ 43 w 256"/>
              <a:gd name="T93" fmla="*/ 89 h 310"/>
              <a:gd name="T94" fmla="*/ 212 w 256"/>
              <a:gd name="T95" fmla="*/ 89 h 3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256" h="310">
                <a:moveTo>
                  <a:pt x="230" y="179"/>
                </a:moveTo>
                <a:cubicBezTo>
                  <a:pt x="233" y="177"/>
                  <a:pt x="234" y="175"/>
                  <a:pt x="234" y="171"/>
                </a:cubicBezTo>
                <a:cubicBezTo>
                  <a:pt x="234" y="165"/>
                  <a:pt x="230" y="160"/>
                  <a:pt x="224" y="160"/>
                </a:cubicBezTo>
                <a:cubicBezTo>
                  <a:pt x="208" y="160"/>
                  <a:pt x="208" y="160"/>
                  <a:pt x="208" y="160"/>
                </a:cubicBezTo>
                <a:cubicBezTo>
                  <a:pt x="202" y="136"/>
                  <a:pt x="202" y="136"/>
                  <a:pt x="202" y="136"/>
                </a:cubicBezTo>
                <a:cubicBezTo>
                  <a:pt x="202" y="135"/>
                  <a:pt x="201" y="134"/>
                  <a:pt x="200" y="133"/>
                </a:cubicBezTo>
                <a:cubicBezTo>
                  <a:pt x="198" y="130"/>
                  <a:pt x="180" y="107"/>
                  <a:pt x="160" y="107"/>
                </a:cubicBezTo>
                <a:cubicBezTo>
                  <a:pt x="96" y="107"/>
                  <a:pt x="96" y="107"/>
                  <a:pt x="96" y="107"/>
                </a:cubicBezTo>
                <a:cubicBezTo>
                  <a:pt x="75" y="107"/>
                  <a:pt x="57" y="130"/>
                  <a:pt x="55" y="133"/>
                </a:cubicBezTo>
                <a:cubicBezTo>
                  <a:pt x="54" y="134"/>
                  <a:pt x="54" y="135"/>
                  <a:pt x="53" y="136"/>
                </a:cubicBezTo>
                <a:cubicBezTo>
                  <a:pt x="47" y="160"/>
                  <a:pt x="47" y="160"/>
                  <a:pt x="47" y="160"/>
                </a:cubicBezTo>
                <a:cubicBezTo>
                  <a:pt x="32" y="160"/>
                  <a:pt x="32" y="160"/>
                  <a:pt x="32" y="160"/>
                </a:cubicBezTo>
                <a:cubicBezTo>
                  <a:pt x="26" y="160"/>
                  <a:pt x="21" y="165"/>
                  <a:pt x="21" y="171"/>
                </a:cubicBezTo>
                <a:cubicBezTo>
                  <a:pt x="21" y="175"/>
                  <a:pt x="23" y="177"/>
                  <a:pt x="25" y="179"/>
                </a:cubicBezTo>
                <a:cubicBezTo>
                  <a:pt x="10" y="189"/>
                  <a:pt x="0" y="206"/>
                  <a:pt x="0" y="224"/>
                </a:cubicBezTo>
                <a:cubicBezTo>
                  <a:pt x="0" y="245"/>
                  <a:pt x="0" y="245"/>
                  <a:pt x="0" y="245"/>
                </a:cubicBezTo>
                <a:cubicBezTo>
                  <a:pt x="0" y="248"/>
                  <a:pt x="0" y="255"/>
                  <a:pt x="6" y="262"/>
                </a:cubicBezTo>
                <a:cubicBezTo>
                  <a:pt x="8" y="263"/>
                  <a:pt x="9" y="264"/>
                  <a:pt x="10" y="265"/>
                </a:cubicBezTo>
                <a:cubicBezTo>
                  <a:pt x="10" y="299"/>
                  <a:pt x="10" y="299"/>
                  <a:pt x="10" y="299"/>
                </a:cubicBezTo>
                <a:cubicBezTo>
                  <a:pt x="10" y="305"/>
                  <a:pt x="15" y="310"/>
                  <a:pt x="21" y="310"/>
                </a:cubicBezTo>
                <a:cubicBezTo>
                  <a:pt x="64" y="310"/>
                  <a:pt x="64" y="310"/>
                  <a:pt x="64" y="310"/>
                </a:cubicBezTo>
                <a:cubicBezTo>
                  <a:pt x="70" y="310"/>
                  <a:pt x="74" y="305"/>
                  <a:pt x="74" y="299"/>
                </a:cubicBezTo>
                <a:cubicBezTo>
                  <a:pt x="74" y="286"/>
                  <a:pt x="74" y="286"/>
                  <a:pt x="74" y="286"/>
                </a:cubicBezTo>
                <a:cubicBezTo>
                  <a:pt x="90" y="287"/>
                  <a:pt x="107" y="288"/>
                  <a:pt x="128" y="288"/>
                </a:cubicBezTo>
                <a:cubicBezTo>
                  <a:pt x="148" y="288"/>
                  <a:pt x="165" y="287"/>
                  <a:pt x="181" y="286"/>
                </a:cubicBezTo>
                <a:cubicBezTo>
                  <a:pt x="181" y="299"/>
                  <a:pt x="181" y="299"/>
                  <a:pt x="181" y="299"/>
                </a:cubicBezTo>
                <a:cubicBezTo>
                  <a:pt x="181" y="305"/>
                  <a:pt x="186" y="310"/>
                  <a:pt x="192" y="310"/>
                </a:cubicBezTo>
                <a:cubicBezTo>
                  <a:pt x="234" y="310"/>
                  <a:pt x="234" y="310"/>
                  <a:pt x="234" y="310"/>
                </a:cubicBezTo>
                <a:cubicBezTo>
                  <a:pt x="240" y="310"/>
                  <a:pt x="245" y="305"/>
                  <a:pt x="245" y="299"/>
                </a:cubicBezTo>
                <a:cubicBezTo>
                  <a:pt x="245" y="265"/>
                  <a:pt x="245" y="265"/>
                  <a:pt x="245" y="265"/>
                </a:cubicBezTo>
                <a:cubicBezTo>
                  <a:pt x="246" y="264"/>
                  <a:pt x="248" y="263"/>
                  <a:pt x="249" y="262"/>
                </a:cubicBezTo>
                <a:cubicBezTo>
                  <a:pt x="255" y="255"/>
                  <a:pt x="256" y="248"/>
                  <a:pt x="256" y="245"/>
                </a:cubicBezTo>
                <a:cubicBezTo>
                  <a:pt x="256" y="224"/>
                  <a:pt x="256" y="224"/>
                  <a:pt x="256" y="224"/>
                </a:cubicBezTo>
                <a:cubicBezTo>
                  <a:pt x="256" y="206"/>
                  <a:pt x="245" y="189"/>
                  <a:pt x="230" y="179"/>
                </a:cubicBezTo>
                <a:close/>
                <a:moveTo>
                  <a:pt x="96" y="128"/>
                </a:moveTo>
                <a:cubicBezTo>
                  <a:pt x="160" y="128"/>
                  <a:pt x="160" y="128"/>
                  <a:pt x="160" y="128"/>
                </a:cubicBezTo>
                <a:cubicBezTo>
                  <a:pt x="166" y="128"/>
                  <a:pt x="176" y="137"/>
                  <a:pt x="182" y="144"/>
                </a:cubicBezTo>
                <a:cubicBezTo>
                  <a:pt x="189" y="171"/>
                  <a:pt x="189" y="171"/>
                  <a:pt x="189" y="171"/>
                </a:cubicBezTo>
                <a:cubicBezTo>
                  <a:pt x="67" y="171"/>
                  <a:pt x="67" y="171"/>
                  <a:pt x="67" y="171"/>
                </a:cubicBezTo>
                <a:cubicBezTo>
                  <a:pt x="73" y="144"/>
                  <a:pt x="73" y="144"/>
                  <a:pt x="73" y="144"/>
                </a:cubicBezTo>
                <a:cubicBezTo>
                  <a:pt x="79" y="137"/>
                  <a:pt x="89" y="128"/>
                  <a:pt x="96" y="128"/>
                </a:cubicBezTo>
                <a:close/>
                <a:moveTo>
                  <a:pt x="53" y="288"/>
                </a:moveTo>
                <a:cubicBezTo>
                  <a:pt x="32" y="288"/>
                  <a:pt x="32" y="288"/>
                  <a:pt x="32" y="288"/>
                </a:cubicBezTo>
                <a:cubicBezTo>
                  <a:pt x="32" y="277"/>
                  <a:pt x="32" y="277"/>
                  <a:pt x="32" y="277"/>
                </a:cubicBezTo>
                <a:cubicBezTo>
                  <a:pt x="38" y="279"/>
                  <a:pt x="45" y="281"/>
                  <a:pt x="53" y="282"/>
                </a:cubicBezTo>
                <a:lnTo>
                  <a:pt x="53" y="288"/>
                </a:lnTo>
                <a:close/>
                <a:moveTo>
                  <a:pt x="21" y="245"/>
                </a:moveTo>
                <a:cubicBezTo>
                  <a:pt x="21" y="224"/>
                  <a:pt x="21" y="224"/>
                  <a:pt x="21" y="224"/>
                </a:cubicBezTo>
                <a:cubicBezTo>
                  <a:pt x="21" y="208"/>
                  <a:pt x="37" y="192"/>
                  <a:pt x="53" y="192"/>
                </a:cubicBezTo>
                <a:cubicBezTo>
                  <a:pt x="202" y="192"/>
                  <a:pt x="202" y="192"/>
                  <a:pt x="202" y="192"/>
                </a:cubicBezTo>
                <a:cubicBezTo>
                  <a:pt x="219" y="192"/>
                  <a:pt x="234" y="208"/>
                  <a:pt x="234" y="224"/>
                </a:cubicBezTo>
                <a:cubicBezTo>
                  <a:pt x="234" y="245"/>
                  <a:pt x="234" y="245"/>
                  <a:pt x="234" y="245"/>
                </a:cubicBezTo>
                <a:cubicBezTo>
                  <a:pt x="233" y="247"/>
                  <a:pt x="222" y="267"/>
                  <a:pt x="128" y="267"/>
                </a:cubicBezTo>
                <a:cubicBezTo>
                  <a:pt x="34" y="267"/>
                  <a:pt x="22" y="247"/>
                  <a:pt x="21" y="245"/>
                </a:cubicBezTo>
                <a:close/>
                <a:moveTo>
                  <a:pt x="224" y="288"/>
                </a:moveTo>
                <a:cubicBezTo>
                  <a:pt x="202" y="288"/>
                  <a:pt x="202" y="288"/>
                  <a:pt x="202" y="288"/>
                </a:cubicBezTo>
                <a:cubicBezTo>
                  <a:pt x="202" y="282"/>
                  <a:pt x="202" y="282"/>
                  <a:pt x="202" y="282"/>
                </a:cubicBezTo>
                <a:cubicBezTo>
                  <a:pt x="210" y="281"/>
                  <a:pt x="217" y="279"/>
                  <a:pt x="224" y="277"/>
                </a:cubicBezTo>
                <a:lnTo>
                  <a:pt x="224" y="288"/>
                </a:lnTo>
                <a:close/>
                <a:moveTo>
                  <a:pt x="160" y="224"/>
                </a:moveTo>
                <a:cubicBezTo>
                  <a:pt x="160" y="230"/>
                  <a:pt x="155" y="235"/>
                  <a:pt x="149" y="235"/>
                </a:cubicBezTo>
                <a:cubicBezTo>
                  <a:pt x="106" y="235"/>
                  <a:pt x="106" y="235"/>
                  <a:pt x="106" y="235"/>
                </a:cubicBezTo>
                <a:cubicBezTo>
                  <a:pt x="100" y="235"/>
                  <a:pt x="96" y="230"/>
                  <a:pt x="96" y="224"/>
                </a:cubicBezTo>
                <a:cubicBezTo>
                  <a:pt x="96" y="218"/>
                  <a:pt x="100" y="214"/>
                  <a:pt x="106" y="214"/>
                </a:cubicBezTo>
                <a:cubicBezTo>
                  <a:pt x="149" y="214"/>
                  <a:pt x="149" y="214"/>
                  <a:pt x="149" y="214"/>
                </a:cubicBezTo>
                <a:cubicBezTo>
                  <a:pt x="155" y="214"/>
                  <a:pt x="160" y="218"/>
                  <a:pt x="160" y="224"/>
                </a:cubicBezTo>
                <a:close/>
                <a:moveTo>
                  <a:pt x="67" y="228"/>
                </a:moveTo>
                <a:cubicBezTo>
                  <a:pt x="67" y="234"/>
                  <a:pt x="63" y="239"/>
                  <a:pt x="57" y="239"/>
                </a:cubicBezTo>
                <a:cubicBezTo>
                  <a:pt x="52" y="239"/>
                  <a:pt x="47" y="234"/>
                  <a:pt x="47" y="228"/>
                </a:cubicBezTo>
                <a:cubicBezTo>
                  <a:pt x="47" y="223"/>
                  <a:pt x="52" y="218"/>
                  <a:pt x="57" y="218"/>
                </a:cubicBezTo>
                <a:cubicBezTo>
                  <a:pt x="63" y="218"/>
                  <a:pt x="67" y="223"/>
                  <a:pt x="67" y="228"/>
                </a:cubicBezTo>
                <a:close/>
                <a:moveTo>
                  <a:pt x="208" y="228"/>
                </a:moveTo>
                <a:cubicBezTo>
                  <a:pt x="208" y="234"/>
                  <a:pt x="204" y="239"/>
                  <a:pt x="198" y="239"/>
                </a:cubicBezTo>
                <a:cubicBezTo>
                  <a:pt x="193" y="239"/>
                  <a:pt x="188" y="234"/>
                  <a:pt x="188" y="228"/>
                </a:cubicBezTo>
                <a:cubicBezTo>
                  <a:pt x="188" y="223"/>
                  <a:pt x="193" y="218"/>
                  <a:pt x="198" y="218"/>
                </a:cubicBezTo>
                <a:cubicBezTo>
                  <a:pt x="204" y="218"/>
                  <a:pt x="208" y="223"/>
                  <a:pt x="208" y="228"/>
                </a:cubicBezTo>
                <a:close/>
                <a:moveTo>
                  <a:pt x="14" y="70"/>
                </a:moveTo>
                <a:cubicBezTo>
                  <a:pt x="10" y="66"/>
                  <a:pt x="9" y="60"/>
                  <a:pt x="13" y="55"/>
                </a:cubicBezTo>
                <a:cubicBezTo>
                  <a:pt x="43" y="20"/>
                  <a:pt x="84" y="0"/>
                  <a:pt x="128" y="0"/>
                </a:cubicBezTo>
                <a:cubicBezTo>
                  <a:pt x="171" y="0"/>
                  <a:pt x="212" y="20"/>
                  <a:pt x="242" y="55"/>
                </a:cubicBezTo>
                <a:cubicBezTo>
                  <a:pt x="246" y="60"/>
                  <a:pt x="246" y="66"/>
                  <a:pt x="241" y="70"/>
                </a:cubicBezTo>
                <a:cubicBezTo>
                  <a:pt x="237" y="74"/>
                  <a:pt x="230" y="74"/>
                  <a:pt x="226" y="69"/>
                </a:cubicBezTo>
                <a:cubicBezTo>
                  <a:pt x="200" y="39"/>
                  <a:pt x="165" y="22"/>
                  <a:pt x="128" y="22"/>
                </a:cubicBezTo>
                <a:cubicBezTo>
                  <a:pt x="90" y="22"/>
                  <a:pt x="55" y="39"/>
                  <a:pt x="29" y="69"/>
                </a:cubicBezTo>
                <a:cubicBezTo>
                  <a:pt x="27" y="72"/>
                  <a:pt x="24" y="73"/>
                  <a:pt x="21" y="73"/>
                </a:cubicBezTo>
                <a:cubicBezTo>
                  <a:pt x="19" y="73"/>
                  <a:pt x="16" y="72"/>
                  <a:pt x="14" y="70"/>
                </a:cubicBezTo>
                <a:close/>
                <a:moveTo>
                  <a:pt x="212" y="89"/>
                </a:moveTo>
                <a:cubicBezTo>
                  <a:pt x="216" y="94"/>
                  <a:pt x="215" y="101"/>
                  <a:pt x="211" y="104"/>
                </a:cubicBezTo>
                <a:cubicBezTo>
                  <a:pt x="206" y="108"/>
                  <a:pt x="200" y="108"/>
                  <a:pt x="196" y="103"/>
                </a:cubicBezTo>
                <a:cubicBezTo>
                  <a:pt x="178" y="82"/>
                  <a:pt x="153" y="70"/>
                  <a:pt x="128" y="70"/>
                </a:cubicBezTo>
                <a:cubicBezTo>
                  <a:pt x="102" y="70"/>
                  <a:pt x="78" y="82"/>
                  <a:pt x="60" y="103"/>
                </a:cubicBezTo>
                <a:cubicBezTo>
                  <a:pt x="57" y="106"/>
                  <a:pt x="54" y="107"/>
                  <a:pt x="51" y="107"/>
                </a:cubicBezTo>
                <a:cubicBezTo>
                  <a:pt x="49" y="107"/>
                  <a:pt x="47" y="106"/>
                  <a:pt x="45" y="104"/>
                </a:cubicBezTo>
                <a:cubicBezTo>
                  <a:pt x="40" y="101"/>
                  <a:pt x="40" y="94"/>
                  <a:pt x="43" y="89"/>
                </a:cubicBezTo>
                <a:cubicBezTo>
                  <a:pt x="66" y="63"/>
                  <a:pt x="96" y="49"/>
                  <a:pt x="128" y="49"/>
                </a:cubicBezTo>
                <a:cubicBezTo>
                  <a:pt x="160" y="49"/>
                  <a:pt x="190" y="63"/>
                  <a:pt x="212" y="89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212" name="Group 211">
            <a:extLst>
              <a:ext uri="{FF2B5EF4-FFF2-40B4-BE49-F238E27FC236}">
                <a16:creationId xmlns:a16="http://schemas.microsoft.com/office/drawing/2014/main" id="{11076D50-620A-6CD1-C71E-5798EE2819DF}"/>
              </a:ext>
            </a:extLst>
          </p:cNvPr>
          <p:cNvGrpSpPr/>
          <p:nvPr/>
        </p:nvGrpSpPr>
        <p:grpSpPr>
          <a:xfrm>
            <a:off x="2354308" y="845182"/>
            <a:ext cx="834024" cy="835138"/>
            <a:chOff x="2592011" y="1328360"/>
            <a:chExt cx="917426" cy="918652"/>
          </a:xfrm>
        </p:grpSpPr>
        <p:sp>
          <p:nvSpPr>
            <p:cNvPr id="161" name="Oval 160">
              <a:extLst>
                <a:ext uri="{FF2B5EF4-FFF2-40B4-BE49-F238E27FC236}">
                  <a16:creationId xmlns:a16="http://schemas.microsoft.com/office/drawing/2014/main" id="{D4BC9A79-84A9-314A-50BC-758DEC07DD7B}"/>
                </a:ext>
              </a:extLst>
            </p:cNvPr>
            <p:cNvSpPr/>
            <p:nvPr/>
          </p:nvSpPr>
          <p:spPr>
            <a:xfrm>
              <a:off x="2592011" y="1328360"/>
              <a:ext cx="917426" cy="918652"/>
            </a:xfrm>
            <a:custGeom>
              <a:avLst/>
              <a:gdLst>
                <a:gd name="connsiteX0" fmla="*/ 0 w 917426"/>
                <a:gd name="connsiteY0" fmla="*/ 459326 h 918652"/>
                <a:gd name="connsiteX1" fmla="*/ 458713 w 917426"/>
                <a:gd name="connsiteY1" fmla="*/ 0 h 918652"/>
                <a:gd name="connsiteX2" fmla="*/ 917426 w 917426"/>
                <a:gd name="connsiteY2" fmla="*/ 459326 h 918652"/>
                <a:gd name="connsiteX3" fmla="*/ 458713 w 917426"/>
                <a:gd name="connsiteY3" fmla="*/ 918652 h 918652"/>
                <a:gd name="connsiteX4" fmla="*/ 0 w 917426"/>
                <a:gd name="connsiteY4" fmla="*/ 459326 h 9186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17426" h="918652" fill="none" extrusionOk="0">
                  <a:moveTo>
                    <a:pt x="0" y="459326"/>
                  </a:moveTo>
                  <a:cubicBezTo>
                    <a:pt x="42031" y="200263"/>
                    <a:pt x="225527" y="11046"/>
                    <a:pt x="458713" y="0"/>
                  </a:cubicBezTo>
                  <a:cubicBezTo>
                    <a:pt x="677206" y="-9611"/>
                    <a:pt x="924979" y="207352"/>
                    <a:pt x="917426" y="459326"/>
                  </a:cubicBezTo>
                  <a:cubicBezTo>
                    <a:pt x="929741" y="711774"/>
                    <a:pt x="698996" y="932508"/>
                    <a:pt x="458713" y="918652"/>
                  </a:cubicBezTo>
                  <a:cubicBezTo>
                    <a:pt x="212727" y="941256"/>
                    <a:pt x="4787" y="761825"/>
                    <a:pt x="0" y="459326"/>
                  </a:cubicBezTo>
                  <a:close/>
                </a:path>
                <a:path w="917426" h="918652" stroke="0" extrusionOk="0">
                  <a:moveTo>
                    <a:pt x="0" y="459326"/>
                  </a:moveTo>
                  <a:cubicBezTo>
                    <a:pt x="4266" y="201829"/>
                    <a:pt x="169770" y="30981"/>
                    <a:pt x="458713" y="0"/>
                  </a:cubicBezTo>
                  <a:cubicBezTo>
                    <a:pt x="703461" y="-42258"/>
                    <a:pt x="899070" y="228497"/>
                    <a:pt x="917426" y="459326"/>
                  </a:cubicBezTo>
                  <a:cubicBezTo>
                    <a:pt x="919453" y="717713"/>
                    <a:pt x="713556" y="871180"/>
                    <a:pt x="458713" y="918652"/>
                  </a:cubicBezTo>
                  <a:cubicBezTo>
                    <a:pt x="204470" y="925925"/>
                    <a:pt x="-9705" y="710439"/>
                    <a:pt x="0" y="459326"/>
                  </a:cubicBezTo>
                  <a:close/>
                </a:path>
              </a:pathLst>
            </a:custGeom>
            <a:solidFill>
              <a:schemeClr val="bg1"/>
            </a:solidFill>
            <a:ln w="19050">
              <a:solidFill>
                <a:srgbClr val="0076A8"/>
              </a:solidFill>
              <a:extLst>
                <a:ext uri="{C807C97D-BFC1-408E-A445-0C87EB9F89A2}">
                  <ask:lineSketchStyleProps xmlns:ask="http://schemas.microsoft.com/office/drawing/2018/sketchyshapes" sd="2091018771">
                    <a:prstGeom prst="ellipse">
                      <a:avLst/>
                    </a:prstGeom>
                    <ask:type>
                      <ask:lineSketchCurved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 dirty="0"/>
            </a:p>
          </p:txBody>
        </p:sp>
        <p:sp>
          <p:nvSpPr>
            <p:cNvPr id="203" name="Freeform 149">
              <a:extLst>
                <a:ext uri="{FF2B5EF4-FFF2-40B4-BE49-F238E27FC236}">
                  <a16:creationId xmlns:a16="http://schemas.microsoft.com/office/drawing/2014/main" id="{5038163B-B6E4-53C0-D70C-4197C7118099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2731872" y="1466399"/>
              <a:ext cx="316861" cy="394144"/>
            </a:xfrm>
            <a:custGeom>
              <a:avLst/>
              <a:gdLst>
                <a:gd name="T0" fmla="*/ 73 w 123"/>
                <a:gd name="T1" fmla="*/ 78 h 153"/>
                <a:gd name="T2" fmla="*/ 84 w 123"/>
                <a:gd name="T3" fmla="*/ 81 h 153"/>
                <a:gd name="T4" fmla="*/ 85 w 123"/>
                <a:gd name="T5" fmla="*/ 96 h 153"/>
                <a:gd name="T6" fmla="*/ 79 w 123"/>
                <a:gd name="T7" fmla="*/ 121 h 153"/>
                <a:gd name="T8" fmla="*/ 78 w 123"/>
                <a:gd name="T9" fmla="*/ 124 h 153"/>
                <a:gd name="T10" fmla="*/ 85 w 123"/>
                <a:gd name="T11" fmla="*/ 150 h 153"/>
                <a:gd name="T12" fmla="*/ 90 w 123"/>
                <a:gd name="T13" fmla="*/ 153 h 153"/>
                <a:gd name="T14" fmla="*/ 95 w 123"/>
                <a:gd name="T15" fmla="*/ 149 h 153"/>
                <a:gd name="T16" fmla="*/ 96 w 123"/>
                <a:gd name="T17" fmla="*/ 143 h 153"/>
                <a:gd name="T18" fmla="*/ 97 w 123"/>
                <a:gd name="T19" fmla="*/ 140 h 153"/>
                <a:gd name="T20" fmla="*/ 104 w 123"/>
                <a:gd name="T21" fmla="*/ 109 h 153"/>
                <a:gd name="T22" fmla="*/ 120 w 123"/>
                <a:gd name="T23" fmla="*/ 32 h 153"/>
                <a:gd name="T24" fmla="*/ 121 w 123"/>
                <a:gd name="T25" fmla="*/ 15 h 153"/>
                <a:gd name="T26" fmla="*/ 110 w 123"/>
                <a:gd name="T27" fmla="*/ 4 h 153"/>
                <a:gd name="T28" fmla="*/ 103 w 123"/>
                <a:gd name="T29" fmla="*/ 11 h 153"/>
                <a:gd name="T30" fmla="*/ 101 w 123"/>
                <a:gd name="T31" fmla="*/ 15 h 153"/>
                <a:gd name="T32" fmla="*/ 101 w 123"/>
                <a:gd name="T33" fmla="*/ 17 h 153"/>
                <a:gd name="T34" fmla="*/ 100 w 123"/>
                <a:gd name="T35" fmla="*/ 19 h 153"/>
                <a:gd name="T36" fmla="*/ 98 w 123"/>
                <a:gd name="T37" fmla="*/ 31 h 153"/>
                <a:gd name="T38" fmla="*/ 90 w 123"/>
                <a:gd name="T39" fmla="*/ 54 h 153"/>
                <a:gd name="T40" fmla="*/ 47 w 123"/>
                <a:gd name="T41" fmla="*/ 60 h 153"/>
                <a:gd name="T42" fmla="*/ 34 w 123"/>
                <a:gd name="T43" fmla="*/ 61 h 153"/>
                <a:gd name="T44" fmla="*/ 30 w 123"/>
                <a:gd name="T45" fmla="*/ 61 h 153"/>
                <a:gd name="T46" fmla="*/ 33 w 123"/>
                <a:gd name="T47" fmla="*/ 58 h 153"/>
                <a:gd name="T48" fmla="*/ 43 w 123"/>
                <a:gd name="T49" fmla="*/ 46 h 153"/>
                <a:gd name="T50" fmla="*/ 60 w 123"/>
                <a:gd name="T51" fmla="*/ 24 h 153"/>
                <a:gd name="T52" fmla="*/ 65 w 123"/>
                <a:gd name="T53" fmla="*/ 7 h 153"/>
                <a:gd name="T54" fmla="*/ 61 w 123"/>
                <a:gd name="T55" fmla="*/ 3 h 153"/>
                <a:gd name="T56" fmla="*/ 45 w 123"/>
                <a:gd name="T57" fmla="*/ 9 h 153"/>
                <a:gd name="T58" fmla="*/ 35 w 123"/>
                <a:gd name="T59" fmla="*/ 22 h 153"/>
                <a:gd name="T60" fmla="*/ 6 w 123"/>
                <a:gd name="T61" fmla="*/ 57 h 153"/>
                <a:gd name="T62" fmla="*/ 6 w 123"/>
                <a:gd name="T63" fmla="*/ 83 h 153"/>
                <a:gd name="T64" fmla="*/ 17 w 123"/>
                <a:gd name="T65" fmla="*/ 89 h 153"/>
                <a:gd name="T66" fmla="*/ 28 w 123"/>
                <a:gd name="T67" fmla="*/ 87 h 153"/>
                <a:gd name="T68" fmla="*/ 33 w 123"/>
                <a:gd name="T69" fmla="*/ 85 h 153"/>
                <a:gd name="T70" fmla="*/ 39 w 123"/>
                <a:gd name="T71" fmla="*/ 83 h 153"/>
                <a:gd name="T72" fmla="*/ 46 w 123"/>
                <a:gd name="T73" fmla="*/ 82 h 153"/>
                <a:gd name="T74" fmla="*/ 68 w 123"/>
                <a:gd name="T75" fmla="*/ 78 h 153"/>
                <a:gd name="T76" fmla="*/ 73 w 123"/>
                <a:gd name="T77" fmla="*/ 78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23" h="153">
                  <a:moveTo>
                    <a:pt x="73" y="78"/>
                  </a:moveTo>
                  <a:cubicBezTo>
                    <a:pt x="79" y="78"/>
                    <a:pt x="82" y="79"/>
                    <a:pt x="84" y="81"/>
                  </a:cubicBezTo>
                  <a:cubicBezTo>
                    <a:pt x="86" y="84"/>
                    <a:pt x="86" y="89"/>
                    <a:pt x="85" y="96"/>
                  </a:cubicBezTo>
                  <a:cubicBezTo>
                    <a:pt x="83" y="104"/>
                    <a:pt x="81" y="113"/>
                    <a:pt x="79" y="121"/>
                  </a:cubicBezTo>
                  <a:cubicBezTo>
                    <a:pt x="78" y="124"/>
                    <a:pt x="78" y="124"/>
                    <a:pt x="78" y="124"/>
                  </a:cubicBezTo>
                  <a:cubicBezTo>
                    <a:pt x="76" y="133"/>
                    <a:pt x="78" y="142"/>
                    <a:pt x="85" y="150"/>
                  </a:cubicBezTo>
                  <a:cubicBezTo>
                    <a:pt x="86" y="152"/>
                    <a:pt x="88" y="153"/>
                    <a:pt x="90" y="153"/>
                  </a:cubicBezTo>
                  <a:cubicBezTo>
                    <a:pt x="92" y="153"/>
                    <a:pt x="94" y="151"/>
                    <a:pt x="95" y="149"/>
                  </a:cubicBezTo>
                  <a:cubicBezTo>
                    <a:pt x="96" y="147"/>
                    <a:pt x="96" y="145"/>
                    <a:pt x="96" y="143"/>
                  </a:cubicBezTo>
                  <a:cubicBezTo>
                    <a:pt x="96" y="142"/>
                    <a:pt x="97" y="141"/>
                    <a:pt x="97" y="140"/>
                  </a:cubicBezTo>
                  <a:cubicBezTo>
                    <a:pt x="99" y="129"/>
                    <a:pt x="101" y="119"/>
                    <a:pt x="104" y="109"/>
                  </a:cubicBezTo>
                  <a:cubicBezTo>
                    <a:pt x="109" y="84"/>
                    <a:pt x="115" y="58"/>
                    <a:pt x="120" y="32"/>
                  </a:cubicBezTo>
                  <a:cubicBezTo>
                    <a:pt x="122" y="27"/>
                    <a:pt x="123" y="20"/>
                    <a:pt x="121" y="15"/>
                  </a:cubicBezTo>
                  <a:cubicBezTo>
                    <a:pt x="119" y="10"/>
                    <a:pt x="114" y="4"/>
                    <a:pt x="110" y="4"/>
                  </a:cubicBezTo>
                  <a:cubicBezTo>
                    <a:pt x="106" y="3"/>
                    <a:pt x="104" y="6"/>
                    <a:pt x="103" y="11"/>
                  </a:cubicBezTo>
                  <a:cubicBezTo>
                    <a:pt x="102" y="12"/>
                    <a:pt x="102" y="14"/>
                    <a:pt x="101" y="15"/>
                  </a:cubicBezTo>
                  <a:cubicBezTo>
                    <a:pt x="101" y="16"/>
                    <a:pt x="101" y="16"/>
                    <a:pt x="101" y="17"/>
                  </a:cubicBezTo>
                  <a:cubicBezTo>
                    <a:pt x="101" y="18"/>
                    <a:pt x="101" y="19"/>
                    <a:pt x="100" y="19"/>
                  </a:cubicBezTo>
                  <a:cubicBezTo>
                    <a:pt x="99" y="23"/>
                    <a:pt x="99" y="27"/>
                    <a:pt x="98" y="31"/>
                  </a:cubicBezTo>
                  <a:cubicBezTo>
                    <a:pt x="97" y="41"/>
                    <a:pt x="95" y="51"/>
                    <a:pt x="90" y="54"/>
                  </a:cubicBezTo>
                  <a:cubicBezTo>
                    <a:pt x="82" y="59"/>
                    <a:pt x="63" y="60"/>
                    <a:pt x="47" y="60"/>
                  </a:cubicBezTo>
                  <a:cubicBezTo>
                    <a:pt x="42" y="61"/>
                    <a:pt x="38" y="61"/>
                    <a:pt x="34" y="61"/>
                  </a:cubicBezTo>
                  <a:cubicBezTo>
                    <a:pt x="30" y="61"/>
                    <a:pt x="30" y="61"/>
                    <a:pt x="30" y="61"/>
                  </a:cubicBezTo>
                  <a:cubicBezTo>
                    <a:pt x="33" y="58"/>
                    <a:pt x="33" y="58"/>
                    <a:pt x="33" y="58"/>
                  </a:cubicBezTo>
                  <a:cubicBezTo>
                    <a:pt x="36" y="54"/>
                    <a:pt x="39" y="50"/>
                    <a:pt x="43" y="46"/>
                  </a:cubicBezTo>
                  <a:cubicBezTo>
                    <a:pt x="50" y="38"/>
                    <a:pt x="57" y="29"/>
                    <a:pt x="60" y="24"/>
                  </a:cubicBezTo>
                  <a:cubicBezTo>
                    <a:pt x="63" y="20"/>
                    <a:pt x="66" y="12"/>
                    <a:pt x="65" y="7"/>
                  </a:cubicBezTo>
                  <a:cubicBezTo>
                    <a:pt x="64" y="5"/>
                    <a:pt x="63" y="4"/>
                    <a:pt x="61" y="3"/>
                  </a:cubicBezTo>
                  <a:cubicBezTo>
                    <a:pt x="55" y="0"/>
                    <a:pt x="50" y="3"/>
                    <a:pt x="45" y="9"/>
                  </a:cubicBezTo>
                  <a:cubicBezTo>
                    <a:pt x="35" y="22"/>
                    <a:pt x="35" y="22"/>
                    <a:pt x="35" y="22"/>
                  </a:cubicBezTo>
                  <a:cubicBezTo>
                    <a:pt x="25" y="33"/>
                    <a:pt x="16" y="45"/>
                    <a:pt x="6" y="57"/>
                  </a:cubicBezTo>
                  <a:cubicBezTo>
                    <a:pt x="0" y="64"/>
                    <a:pt x="0" y="73"/>
                    <a:pt x="6" y="83"/>
                  </a:cubicBezTo>
                  <a:cubicBezTo>
                    <a:pt x="9" y="87"/>
                    <a:pt x="12" y="89"/>
                    <a:pt x="17" y="89"/>
                  </a:cubicBezTo>
                  <a:cubicBezTo>
                    <a:pt x="21" y="89"/>
                    <a:pt x="24" y="88"/>
                    <a:pt x="28" y="87"/>
                  </a:cubicBezTo>
                  <a:cubicBezTo>
                    <a:pt x="29" y="86"/>
                    <a:pt x="31" y="86"/>
                    <a:pt x="33" y="85"/>
                  </a:cubicBezTo>
                  <a:cubicBezTo>
                    <a:pt x="35" y="84"/>
                    <a:pt x="37" y="84"/>
                    <a:pt x="39" y="83"/>
                  </a:cubicBezTo>
                  <a:cubicBezTo>
                    <a:pt x="41" y="83"/>
                    <a:pt x="43" y="82"/>
                    <a:pt x="46" y="82"/>
                  </a:cubicBezTo>
                  <a:cubicBezTo>
                    <a:pt x="53" y="80"/>
                    <a:pt x="60" y="79"/>
                    <a:pt x="68" y="78"/>
                  </a:cubicBezTo>
                  <a:cubicBezTo>
                    <a:pt x="70" y="78"/>
                    <a:pt x="71" y="78"/>
                    <a:pt x="73" y="78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04" name="Freeform 150">
              <a:extLst>
                <a:ext uri="{FF2B5EF4-FFF2-40B4-BE49-F238E27FC236}">
                  <a16:creationId xmlns:a16="http://schemas.microsoft.com/office/drawing/2014/main" id="{DBA4D119-5957-4036-E5B6-C0A8AC0B0AA9}"/>
                </a:ext>
              </a:extLst>
            </p:cNvPr>
            <p:cNvSpPr>
              <a:spLocks/>
            </p:cNvSpPr>
            <p:nvPr/>
          </p:nvSpPr>
          <p:spPr bwMode="auto">
            <a:xfrm>
              <a:off x="3102223" y="1566728"/>
              <a:ext cx="200695" cy="193485"/>
            </a:xfrm>
            <a:custGeom>
              <a:avLst/>
              <a:gdLst>
                <a:gd name="T0" fmla="*/ 100 w 167"/>
                <a:gd name="T1" fmla="*/ 43 h 161"/>
                <a:gd name="T2" fmla="*/ 99 w 167"/>
                <a:gd name="T3" fmla="*/ 51 h 161"/>
                <a:gd name="T4" fmla="*/ 122 w 167"/>
                <a:gd name="T5" fmla="*/ 77 h 161"/>
                <a:gd name="T6" fmla="*/ 158 w 167"/>
                <a:gd name="T7" fmla="*/ 79 h 161"/>
                <a:gd name="T8" fmla="*/ 166 w 167"/>
                <a:gd name="T9" fmla="*/ 88 h 161"/>
                <a:gd name="T10" fmla="*/ 160 w 167"/>
                <a:gd name="T11" fmla="*/ 96 h 161"/>
                <a:gd name="T12" fmla="*/ 147 w 167"/>
                <a:gd name="T13" fmla="*/ 97 h 161"/>
                <a:gd name="T14" fmla="*/ 113 w 167"/>
                <a:gd name="T15" fmla="*/ 97 h 161"/>
                <a:gd name="T16" fmla="*/ 96 w 167"/>
                <a:gd name="T17" fmla="*/ 114 h 161"/>
                <a:gd name="T18" fmla="*/ 98 w 167"/>
                <a:gd name="T19" fmla="*/ 151 h 161"/>
                <a:gd name="T20" fmla="*/ 91 w 167"/>
                <a:gd name="T21" fmla="*/ 160 h 161"/>
                <a:gd name="T22" fmla="*/ 80 w 167"/>
                <a:gd name="T23" fmla="*/ 152 h 161"/>
                <a:gd name="T24" fmla="*/ 78 w 167"/>
                <a:gd name="T25" fmla="*/ 109 h 161"/>
                <a:gd name="T26" fmla="*/ 65 w 167"/>
                <a:gd name="T27" fmla="*/ 96 h 161"/>
                <a:gd name="T28" fmla="*/ 25 w 167"/>
                <a:gd name="T29" fmla="*/ 99 h 161"/>
                <a:gd name="T30" fmla="*/ 10 w 167"/>
                <a:gd name="T31" fmla="*/ 99 h 161"/>
                <a:gd name="T32" fmla="*/ 1 w 167"/>
                <a:gd name="T33" fmla="*/ 85 h 161"/>
                <a:gd name="T34" fmla="*/ 12 w 167"/>
                <a:gd name="T35" fmla="*/ 75 h 161"/>
                <a:gd name="T36" fmla="*/ 68 w 167"/>
                <a:gd name="T37" fmla="*/ 74 h 161"/>
                <a:gd name="T38" fmla="*/ 80 w 167"/>
                <a:gd name="T39" fmla="*/ 64 h 161"/>
                <a:gd name="T40" fmla="*/ 79 w 167"/>
                <a:gd name="T41" fmla="*/ 18 h 161"/>
                <a:gd name="T42" fmla="*/ 79 w 167"/>
                <a:gd name="T43" fmla="*/ 7 h 161"/>
                <a:gd name="T44" fmla="*/ 86 w 167"/>
                <a:gd name="T45" fmla="*/ 0 h 161"/>
                <a:gd name="T46" fmla="*/ 97 w 167"/>
                <a:gd name="T47" fmla="*/ 6 h 161"/>
                <a:gd name="T48" fmla="*/ 100 w 167"/>
                <a:gd name="T49" fmla="*/ 36 h 161"/>
                <a:gd name="T50" fmla="*/ 100 w 167"/>
                <a:gd name="T51" fmla="*/ 43 h 161"/>
                <a:gd name="T52" fmla="*/ 100 w 167"/>
                <a:gd name="T53" fmla="*/ 43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67" h="161">
                  <a:moveTo>
                    <a:pt x="100" y="43"/>
                  </a:moveTo>
                  <a:cubicBezTo>
                    <a:pt x="99" y="46"/>
                    <a:pt x="99" y="48"/>
                    <a:pt x="99" y="51"/>
                  </a:cubicBezTo>
                  <a:cubicBezTo>
                    <a:pt x="96" y="79"/>
                    <a:pt x="99" y="74"/>
                    <a:pt x="122" y="77"/>
                  </a:cubicBezTo>
                  <a:cubicBezTo>
                    <a:pt x="131" y="77"/>
                    <a:pt x="150" y="77"/>
                    <a:pt x="158" y="79"/>
                  </a:cubicBezTo>
                  <a:cubicBezTo>
                    <a:pt x="162" y="80"/>
                    <a:pt x="165" y="84"/>
                    <a:pt x="166" y="88"/>
                  </a:cubicBezTo>
                  <a:cubicBezTo>
                    <a:pt x="167" y="90"/>
                    <a:pt x="163" y="94"/>
                    <a:pt x="160" y="96"/>
                  </a:cubicBezTo>
                  <a:cubicBezTo>
                    <a:pt x="156" y="97"/>
                    <a:pt x="151" y="97"/>
                    <a:pt x="147" y="97"/>
                  </a:cubicBezTo>
                  <a:cubicBezTo>
                    <a:pt x="138" y="97"/>
                    <a:pt x="121" y="97"/>
                    <a:pt x="113" y="97"/>
                  </a:cubicBezTo>
                  <a:cubicBezTo>
                    <a:pt x="96" y="96"/>
                    <a:pt x="96" y="97"/>
                    <a:pt x="96" y="114"/>
                  </a:cubicBezTo>
                  <a:cubicBezTo>
                    <a:pt x="97" y="123"/>
                    <a:pt x="97" y="142"/>
                    <a:pt x="98" y="151"/>
                  </a:cubicBezTo>
                  <a:cubicBezTo>
                    <a:pt x="98" y="156"/>
                    <a:pt x="96" y="160"/>
                    <a:pt x="91" y="160"/>
                  </a:cubicBezTo>
                  <a:cubicBezTo>
                    <a:pt x="84" y="161"/>
                    <a:pt x="81" y="156"/>
                    <a:pt x="80" y="152"/>
                  </a:cubicBezTo>
                  <a:cubicBezTo>
                    <a:pt x="79" y="141"/>
                    <a:pt x="79" y="120"/>
                    <a:pt x="78" y="109"/>
                  </a:cubicBezTo>
                  <a:cubicBezTo>
                    <a:pt x="77" y="95"/>
                    <a:pt x="79" y="95"/>
                    <a:pt x="65" y="96"/>
                  </a:cubicBezTo>
                  <a:cubicBezTo>
                    <a:pt x="51" y="97"/>
                    <a:pt x="38" y="98"/>
                    <a:pt x="25" y="99"/>
                  </a:cubicBezTo>
                  <a:cubicBezTo>
                    <a:pt x="20" y="99"/>
                    <a:pt x="15" y="100"/>
                    <a:pt x="10" y="99"/>
                  </a:cubicBezTo>
                  <a:cubicBezTo>
                    <a:pt x="3" y="98"/>
                    <a:pt x="0" y="93"/>
                    <a:pt x="1" y="85"/>
                  </a:cubicBezTo>
                  <a:cubicBezTo>
                    <a:pt x="1" y="78"/>
                    <a:pt x="5" y="75"/>
                    <a:pt x="12" y="75"/>
                  </a:cubicBezTo>
                  <a:cubicBezTo>
                    <a:pt x="31" y="75"/>
                    <a:pt x="48" y="74"/>
                    <a:pt x="68" y="74"/>
                  </a:cubicBezTo>
                  <a:cubicBezTo>
                    <a:pt x="75" y="74"/>
                    <a:pt x="80" y="72"/>
                    <a:pt x="80" y="64"/>
                  </a:cubicBezTo>
                  <a:cubicBezTo>
                    <a:pt x="79" y="49"/>
                    <a:pt x="79" y="33"/>
                    <a:pt x="79" y="18"/>
                  </a:cubicBezTo>
                  <a:cubicBezTo>
                    <a:pt x="79" y="14"/>
                    <a:pt x="78" y="10"/>
                    <a:pt x="79" y="7"/>
                  </a:cubicBezTo>
                  <a:cubicBezTo>
                    <a:pt x="80" y="4"/>
                    <a:pt x="84" y="0"/>
                    <a:pt x="86" y="0"/>
                  </a:cubicBezTo>
                  <a:cubicBezTo>
                    <a:pt x="89" y="0"/>
                    <a:pt x="97" y="3"/>
                    <a:pt x="97" y="6"/>
                  </a:cubicBezTo>
                  <a:cubicBezTo>
                    <a:pt x="99" y="15"/>
                    <a:pt x="99" y="26"/>
                    <a:pt x="100" y="36"/>
                  </a:cubicBezTo>
                  <a:cubicBezTo>
                    <a:pt x="100" y="38"/>
                    <a:pt x="100" y="41"/>
                    <a:pt x="100" y="43"/>
                  </a:cubicBezTo>
                  <a:cubicBezTo>
                    <a:pt x="100" y="43"/>
                    <a:pt x="100" y="43"/>
                    <a:pt x="100" y="43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06" name="TextBox 205">
              <a:extLst>
                <a:ext uri="{FF2B5EF4-FFF2-40B4-BE49-F238E27FC236}">
                  <a16:creationId xmlns:a16="http://schemas.microsoft.com/office/drawing/2014/main" id="{06A61BD5-E246-3631-9D64-15280DA74A09}"/>
                </a:ext>
              </a:extLst>
            </p:cNvPr>
            <p:cNvSpPr txBox="1"/>
            <p:nvPr/>
          </p:nvSpPr>
          <p:spPr>
            <a:xfrm>
              <a:off x="2728207" y="1858365"/>
              <a:ext cx="617817" cy="305232"/>
            </a:xfrm>
            <a:prstGeom prst="rect">
              <a:avLst/>
            </a:prstGeom>
            <a:noFill/>
          </p:spPr>
          <p:txBody>
            <a:bodyPr wrap="square" anchor="ctr">
              <a:noAutofit/>
            </a:bodyPr>
            <a:lstStyle/>
            <a:p>
              <a:pPr algn="ctr"/>
              <a:r>
                <a:rPr lang="it-IT" dirty="0">
                  <a:solidFill>
                    <a:schemeClr val="tx1"/>
                  </a:solidFill>
                </a:rPr>
                <a:t>Mln</a:t>
              </a:r>
            </a:p>
          </p:txBody>
        </p:sp>
      </p:grpSp>
      <p:grpSp>
        <p:nvGrpSpPr>
          <p:cNvPr id="213" name="Group 212">
            <a:extLst>
              <a:ext uri="{FF2B5EF4-FFF2-40B4-BE49-F238E27FC236}">
                <a16:creationId xmlns:a16="http://schemas.microsoft.com/office/drawing/2014/main" id="{4C5A3A77-D3FB-6B64-01E0-5606F99D3D46}"/>
              </a:ext>
            </a:extLst>
          </p:cNvPr>
          <p:cNvGrpSpPr/>
          <p:nvPr/>
        </p:nvGrpSpPr>
        <p:grpSpPr>
          <a:xfrm>
            <a:off x="5929338" y="869030"/>
            <a:ext cx="834024" cy="835139"/>
            <a:chOff x="5448268" y="1352208"/>
            <a:chExt cx="917426" cy="918653"/>
          </a:xfrm>
        </p:grpSpPr>
        <p:sp>
          <p:nvSpPr>
            <p:cNvPr id="170" name="Oval 169">
              <a:extLst>
                <a:ext uri="{FF2B5EF4-FFF2-40B4-BE49-F238E27FC236}">
                  <a16:creationId xmlns:a16="http://schemas.microsoft.com/office/drawing/2014/main" id="{A7274FFC-53D8-CCDA-92A5-DA196CAB40FB}"/>
                </a:ext>
              </a:extLst>
            </p:cNvPr>
            <p:cNvSpPr/>
            <p:nvPr/>
          </p:nvSpPr>
          <p:spPr>
            <a:xfrm>
              <a:off x="5448268" y="1352208"/>
              <a:ext cx="917426" cy="918653"/>
            </a:xfrm>
            <a:custGeom>
              <a:avLst/>
              <a:gdLst>
                <a:gd name="connsiteX0" fmla="*/ 0 w 917426"/>
                <a:gd name="connsiteY0" fmla="*/ 459327 h 918653"/>
                <a:gd name="connsiteX1" fmla="*/ 458713 w 917426"/>
                <a:gd name="connsiteY1" fmla="*/ 0 h 918653"/>
                <a:gd name="connsiteX2" fmla="*/ 917426 w 917426"/>
                <a:gd name="connsiteY2" fmla="*/ 459327 h 918653"/>
                <a:gd name="connsiteX3" fmla="*/ 458713 w 917426"/>
                <a:gd name="connsiteY3" fmla="*/ 918654 h 918653"/>
                <a:gd name="connsiteX4" fmla="*/ 0 w 917426"/>
                <a:gd name="connsiteY4" fmla="*/ 459327 h 918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17426" h="918653" fill="none" extrusionOk="0">
                  <a:moveTo>
                    <a:pt x="0" y="459327"/>
                  </a:moveTo>
                  <a:cubicBezTo>
                    <a:pt x="-2472" y="164152"/>
                    <a:pt x="211178" y="-2704"/>
                    <a:pt x="458713" y="0"/>
                  </a:cubicBezTo>
                  <a:cubicBezTo>
                    <a:pt x="699429" y="-4106"/>
                    <a:pt x="892501" y="199905"/>
                    <a:pt x="917426" y="459327"/>
                  </a:cubicBezTo>
                  <a:cubicBezTo>
                    <a:pt x="899122" y="704949"/>
                    <a:pt x="673415" y="907005"/>
                    <a:pt x="458713" y="918654"/>
                  </a:cubicBezTo>
                  <a:cubicBezTo>
                    <a:pt x="180489" y="936974"/>
                    <a:pt x="-15114" y="739717"/>
                    <a:pt x="0" y="459327"/>
                  </a:cubicBezTo>
                  <a:close/>
                </a:path>
                <a:path w="917426" h="918653" stroke="0" extrusionOk="0">
                  <a:moveTo>
                    <a:pt x="0" y="459327"/>
                  </a:moveTo>
                  <a:cubicBezTo>
                    <a:pt x="-18400" y="218077"/>
                    <a:pt x="240027" y="18577"/>
                    <a:pt x="458713" y="0"/>
                  </a:cubicBezTo>
                  <a:cubicBezTo>
                    <a:pt x="714900" y="24243"/>
                    <a:pt x="892485" y="218518"/>
                    <a:pt x="917426" y="459327"/>
                  </a:cubicBezTo>
                  <a:cubicBezTo>
                    <a:pt x="942689" y="699940"/>
                    <a:pt x="702500" y="872544"/>
                    <a:pt x="458713" y="918654"/>
                  </a:cubicBezTo>
                  <a:cubicBezTo>
                    <a:pt x="156866" y="921600"/>
                    <a:pt x="-30272" y="677291"/>
                    <a:pt x="0" y="459327"/>
                  </a:cubicBezTo>
                  <a:close/>
                </a:path>
              </a:pathLst>
            </a:custGeom>
            <a:solidFill>
              <a:schemeClr val="bg1"/>
            </a:solidFill>
            <a:ln w="19050">
              <a:solidFill>
                <a:srgbClr val="0076A8"/>
              </a:solidFill>
              <a:extLst>
                <a:ext uri="{C807C97D-BFC1-408E-A445-0C87EB9F89A2}">
                  <ask:lineSketchStyleProps xmlns:ask="http://schemas.microsoft.com/office/drawing/2018/sketchyshapes" sd="2558881134">
                    <a:prstGeom prst="ellipse">
                      <a:avLst/>
                    </a:prstGeom>
                    <ask:type>
                      <ask:lineSketchCurved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/>
            </a:p>
          </p:txBody>
        </p:sp>
        <p:pic>
          <p:nvPicPr>
            <p:cNvPr id="209" name="Picture 208" descr="A black and white image of a clock and a circle&#10;&#10;Description automatically generated">
              <a:extLst>
                <a:ext uri="{FF2B5EF4-FFF2-40B4-BE49-F238E27FC236}">
                  <a16:creationId xmlns:a16="http://schemas.microsoft.com/office/drawing/2014/main" id="{F961AAD3-C1C9-2F01-14C5-83ACD874DC3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62636" b="6989"/>
            <a:stretch/>
          </p:blipFill>
          <p:spPr>
            <a:xfrm>
              <a:off x="5483161" y="1412719"/>
              <a:ext cx="769009" cy="797630"/>
            </a:xfrm>
            <a:prstGeom prst="rect">
              <a:avLst/>
            </a:prstGeom>
          </p:spPr>
        </p:pic>
      </p:grpSp>
      <p:pic>
        <p:nvPicPr>
          <p:cNvPr id="211" name="Picture 210" descr="The Urban Mobility Council, i dati di un nuovo paradigma per la  sostenibilità sociale">
            <a:extLst>
              <a:ext uri="{FF2B5EF4-FFF2-40B4-BE49-F238E27FC236}">
                <a16:creationId xmlns:a16="http://schemas.microsoft.com/office/drawing/2014/main" id="{2A598BB1-CCB6-5945-EE5F-7454BC3E4E36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7112252" y="1262751"/>
            <a:ext cx="1518679" cy="272692"/>
          </a:xfrm>
          <a:prstGeom prst="rect">
            <a:avLst/>
          </a:prstGeom>
          <a:noFill/>
          <a:ln>
            <a:solidFill>
              <a:schemeClr val="accent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62" name="Straight Connector 161">
            <a:extLst>
              <a:ext uri="{FF2B5EF4-FFF2-40B4-BE49-F238E27FC236}">
                <a16:creationId xmlns:a16="http://schemas.microsoft.com/office/drawing/2014/main" id="{5BB6CB9A-255C-C1F1-AF10-5840DB48C78F}"/>
              </a:ext>
            </a:extLst>
          </p:cNvPr>
          <p:cNvCxnSpPr>
            <a:cxnSpLocks/>
          </p:cNvCxnSpPr>
          <p:nvPr/>
        </p:nvCxnSpPr>
        <p:spPr>
          <a:xfrm flipV="1">
            <a:off x="2118244" y="1270094"/>
            <a:ext cx="217108" cy="242734"/>
          </a:xfrm>
          <a:prstGeom prst="line">
            <a:avLst/>
          </a:prstGeom>
          <a:ln>
            <a:solidFill>
              <a:schemeClr val="tx2"/>
            </a:solidFill>
            <a:prstDash val="sysDot"/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1" name="Straight Connector 170">
            <a:extLst>
              <a:ext uri="{FF2B5EF4-FFF2-40B4-BE49-F238E27FC236}">
                <a16:creationId xmlns:a16="http://schemas.microsoft.com/office/drawing/2014/main" id="{06ED6859-B1C3-410D-A947-41CF5262581E}"/>
              </a:ext>
            </a:extLst>
          </p:cNvPr>
          <p:cNvCxnSpPr>
            <a:cxnSpLocks/>
            <a:endCxn id="170" idx="6"/>
          </p:cNvCxnSpPr>
          <p:nvPr/>
        </p:nvCxnSpPr>
        <p:spPr>
          <a:xfrm flipH="1" flipV="1">
            <a:off x="6763362" y="1286600"/>
            <a:ext cx="157228" cy="248843"/>
          </a:xfrm>
          <a:prstGeom prst="line">
            <a:avLst/>
          </a:prstGeom>
          <a:ln>
            <a:solidFill>
              <a:schemeClr val="tx2"/>
            </a:solidFill>
            <a:prstDash val="sysDot"/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22" name="Group 221">
            <a:extLst>
              <a:ext uri="{FF2B5EF4-FFF2-40B4-BE49-F238E27FC236}">
                <a16:creationId xmlns:a16="http://schemas.microsoft.com/office/drawing/2014/main" id="{B7719F19-9DB3-A6D3-6ED7-34DB6EC961BE}"/>
              </a:ext>
            </a:extLst>
          </p:cNvPr>
          <p:cNvGrpSpPr/>
          <p:nvPr/>
        </p:nvGrpSpPr>
        <p:grpSpPr>
          <a:xfrm>
            <a:off x="479033" y="3165570"/>
            <a:ext cx="8185935" cy="315959"/>
            <a:chOff x="479033" y="3165570"/>
            <a:chExt cx="8185935" cy="315959"/>
          </a:xfrm>
        </p:grpSpPr>
        <p:cxnSp>
          <p:nvCxnSpPr>
            <p:cNvPr id="216" name="Straight Connector 215">
              <a:extLst>
                <a:ext uri="{FF2B5EF4-FFF2-40B4-BE49-F238E27FC236}">
                  <a16:creationId xmlns:a16="http://schemas.microsoft.com/office/drawing/2014/main" id="{AF74CDCF-3FCE-FAAE-2D30-30716A07BB46}"/>
                </a:ext>
              </a:extLst>
            </p:cNvPr>
            <p:cNvCxnSpPr>
              <a:cxnSpLocks/>
            </p:cNvCxnSpPr>
            <p:nvPr/>
          </p:nvCxnSpPr>
          <p:spPr>
            <a:xfrm rot="5400000" flipH="1">
              <a:off x="4572001" y="-803271"/>
              <a:ext cx="0" cy="8185935"/>
            </a:xfrm>
            <a:prstGeom prst="line">
              <a:avLst/>
            </a:prstGeom>
            <a:ln>
              <a:solidFill>
                <a:srgbClr val="0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217" name="Group 216">
              <a:extLst>
                <a:ext uri="{FF2B5EF4-FFF2-40B4-BE49-F238E27FC236}">
                  <a16:creationId xmlns:a16="http://schemas.microsoft.com/office/drawing/2014/main" id="{1015F17F-1B8A-32DF-FCDD-E9276643471A}"/>
                </a:ext>
              </a:extLst>
            </p:cNvPr>
            <p:cNvGrpSpPr/>
            <p:nvPr/>
          </p:nvGrpSpPr>
          <p:grpSpPr>
            <a:xfrm rot="5400000">
              <a:off x="4414017" y="2922657"/>
              <a:ext cx="315959" cy="801786"/>
              <a:chOff x="4891200" y="4480654"/>
              <a:chExt cx="261123" cy="970162"/>
            </a:xfrm>
          </p:grpSpPr>
          <p:sp>
            <p:nvSpPr>
              <p:cNvPr id="218" name="Rectangle 217">
                <a:extLst>
                  <a:ext uri="{FF2B5EF4-FFF2-40B4-BE49-F238E27FC236}">
                    <a16:creationId xmlns:a16="http://schemas.microsoft.com/office/drawing/2014/main" id="{45F5769A-40A6-19AC-23F3-E47F0C6B4D91}"/>
                  </a:ext>
                </a:extLst>
              </p:cNvPr>
              <p:cNvSpPr/>
              <p:nvPr/>
            </p:nvSpPr>
            <p:spPr>
              <a:xfrm>
                <a:off x="4891200" y="4480654"/>
                <a:ext cx="261123" cy="970162"/>
              </a:xfrm>
              <a:prstGeom prst="rect">
                <a:avLst/>
              </a:prstGeom>
              <a:solidFill>
                <a:srgbClr val="FFFFFF"/>
              </a:solidFill>
              <a:ln>
                <a:solidFill>
                  <a:srgbClr val="FFFFFF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it-IT"/>
              </a:p>
            </p:txBody>
          </p:sp>
          <p:grpSp>
            <p:nvGrpSpPr>
              <p:cNvPr id="219" name="Group 218">
                <a:extLst>
                  <a:ext uri="{FF2B5EF4-FFF2-40B4-BE49-F238E27FC236}">
                    <a16:creationId xmlns:a16="http://schemas.microsoft.com/office/drawing/2014/main" id="{175408F7-F4CC-3049-6D21-18967601C42C}"/>
                  </a:ext>
                </a:extLst>
              </p:cNvPr>
              <p:cNvGrpSpPr/>
              <p:nvPr/>
            </p:nvGrpSpPr>
            <p:grpSpPr>
              <a:xfrm flipH="1">
                <a:off x="4894264" y="4564413"/>
                <a:ext cx="254995" cy="802642"/>
                <a:chOff x="11740701" y="1223626"/>
                <a:chExt cx="254995" cy="469914"/>
              </a:xfrm>
            </p:grpSpPr>
            <p:sp>
              <p:nvSpPr>
                <p:cNvPr id="220" name="Chevron 540">
                  <a:extLst>
                    <a:ext uri="{FF2B5EF4-FFF2-40B4-BE49-F238E27FC236}">
                      <a16:creationId xmlns:a16="http://schemas.microsoft.com/office/drawing/2014/main" id="{21191643-817F-F67F-6883-43F33449A115}"/>
                    </a:ext>
                  </a:extLst>
                </p:cNvPr>
                <p:cNvSpPr/>
                <p:nvPr/>
              </p:nvSpPr>
              <p:spPr bwMode="gray">
                <a:xfrm flipH="1">
                  <a:off x="11814552" y="1223626"/>
                  <a:ext cx="181144" cy="469914"/>
                </a:xfrm>
                <a:prstGeom prst="chevron">
                  <a:avLst/>
                </a:prstGeom>
                <a:solidFill>
                  <a:srgbClr val="041E42"/>
                </a:solidFill>
                <a:ln w="19050" algn="ctr">
                  <a:noFill/>
                  <a:miter lim="800000"/>
                  <a:headEnd/>
                  <a:tailEnd/>
                </a:ln>
              </p:spPr>
              <p:txBody>
                <a:bodyPr wrap="square" lIns="88900" tIns="88900" rIns="88900" bIns="88900" rtlCol="0" anchor="ctr"/>
                <a:lstStyle/>
                <a:p>
                  <a:pPr algn="ctr">
                    <a:lnSpc>
                      <a:spcPct val="106000"/>
                    </a:lnSpc>
                    <a:buFont typeface="Wingdings 2" pitchFamily="18" charset="2"/>
                    <a:buNone/>
                  </a:pPr>
                  <a:endParaRPr lang="it-IT" sz="1100" b="1" dirty="0">
                    <a:solidFill>
                      <a:schemeClr val="bg1"/>
                    </a:solidFill>
                    <a:latin typeface="+mj-lt"/>
                  </a:endParaRPr>
                </a:p>
              </p:txBody>
            </p:sp>
            <p:sp>
              <p:nvSpPr>
                <p:cNvPr id="221" name="Chevron 541">
                  <a:extLst>
                    <a:ext uri="{FF2B5EF4-FFF2-40B4-BE49-F238E27FC236}">
                      <a16:creationId xmlns:a16="http://schemas.microsoft.com/office/drawing/2014/main" id="{B89496FC-0073-D1F0-0977-242848945E49}"/>
                    </a:ext>
                  </a:extLst>
                </p:cNvPr>
                <p:cNvSpPr/>
                <p:nvPr/>
              </p:nvSpPr>
              <p:spPr bwMode="gray">
                <a:xfrm flipH="1">
                  <a:off x="11740701" y="1267932"/>
                  <a:ext cx="133066" cy="381300"/>
                </a:xfrm>
                <a:prstGeom prst="chevron">
                  <a:avLst/>
                </a:prstGeom>
                <a:solidFill>
                  <a:schemeClr val="accent5">
                    <a:lumMod val="40000"/>
                    <a:lumOff val="60000"/>
                  </a:schemeClr>
                </a:solidFill>
                <a:ln w="19050" algn="ctr">
                  <a:noFill/>
                  <a:miter lim="800000"/>
                  <a:headEnd/>
                  <a:tailEnd/>
                </a:ln>
              </p:spPr>
              <p:txBody>
                <a:bodyPr wrap="square" lIns="88900" tIns="88900" rIns="88900" bIns="88900" rtlCol="0" anchor="ctr"/>
                <a:lstStyle/>
                <a:p>
                  <a:pPr algn="ctr">
                    <a:lnSpc>
                      <a:spcPct val="106000"/>
                    </a:lnSpc>
                    <a:buFont typeface="Wingdings 2" pitchFamily="18" charset="2"/>
                    <a:buNone/>
                  </a:pPr>
                  <a:endParaRPr lang="it-IT" sz="1100" b="1" dirty="0">
                    <a:solidFill>
                      <a:schemeClr val="bg1"/>
                    </a:solidFill>
                    <a:latin typeface="+mj-lt"/>
                  </a:endParaRPr>
                </a:p>
              </p:txBody>
            </p:sp>
          </p:grpSp>
        </p:grpSp>
      </p:grpSp>
      <p:grpSp>
        <p:nvGrpSpPr>
          <p:cNvPr id="223" name="Group 222">
            <a:extLst>
              <a:ext uri="{FF2B5EF4-FFF2-40B4-BE49-F238E27FC236}">
                <a16:creationId xmlns:a16="http://schemas.microsoft.com/office/drawing/2014/main" id="{260FFC76-CC8C-84B4-B6CE-386B63C09B5E}"/>
              </a:ext>
            </a:extLst>
          </p:cNvPr>
          <p:cNvGrpSpPr/>
          <p:nvPr/>
        </p:nvGrpSpPr>
        <p:grpSpPr>
          <a:xfrm>
            <a:off x="447379" y="3695058"/>
            <a:ext cx="8249242" cy="896206"/>
            <a:chOff x="822345" y="2104471"/>
            <a:chExt cx="7499311" cy="1084410"/>
          </a:xfrm>
        </p:grpSpPr>
        <p:sp>
          <p:nvSpPr>
            <p:cNvPr id="224" name="Rectangle 223">
              <a:extLst>
                <a:ext uri="{FF2B5EF4-FFF2-40B4-BE49-F238E27FC236}">
                  <a16:creationId xmlns:a16="http://schemas.microsoft.com/office/drawing/2014/main" id="{5BA69C5E-F739-D9AE-F745-1B3C0D192364}"/>
                </a:ext>
              </a:extLst>
            </p:cNvPr>
            <p:cNvSpPr/>
            <p:nvPr/>
          </p:nvSpPr>
          <p:spPr>
            <a:xfrm>
              <a:off x="822345" y="2104471"/>
              <a:ext cx="7499311" cy="1084410"/>
            </a:xfrm>
            <a:prstGeom prst="rect">
              <a:avLst/>
            </a:prstGeom>
            <a:solidFill>
              <a:schemeClr val="accent5">
                <a:lumMod val="20000"/>
                <a:lumOff val="80000"/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>
                  <a:solidFill>
                    <a:schemeClr val="tx1"/>
                  </a:solidFill>
                </a:rPr>
                <a:t>UnipolTech can </a:t>
              </a:r>
              <a:r>
                <a:rPr lang="en-US" b="1" dirty="0">
                  <a:solidFill>
                    <a:schemeClr val="tx1"/>
                  </a:solidFill>
                </a:rPr>
                <a:t>help Public Administration </a:t>
              </a:r>
              <a:r>
                <a:rPr lang="en-US" dirty="0">
                  <a:solidFill>
                    <a:schemeClr val="tx1"/>
                  </a:solidFill>
                </a:rPr>
                <a:t>to </a:t>
              </a:r>
              <a:r>
                <a:rPr lang="en-US" b="1" dirty="0">
                  <a:solidFill>
                    <a:schemeClr val="tx1"/>
                  </a:solidFill>
                </a:rPr>
                <a:t>evaluate</a:t>
              </a:r>
              <a:r>
                <a:rPr lang="en-US" dirty="0">
                  <a:solidFill>
                    <a:schemeClr val="tx1"/>
                  </a:solidFill>
                </a:rPr>
                <a:t> </a:t>
              </a:r>
              <a:r>
                <a:rPr lang="en-US" b="1" dirty="0">
                  <a:solidFill>
                    <a:schemeClr val="tx1"/>
                  </a:solidFill>
                </a:rPr>
                <a:t>sustainable mobility policies </a:t>
              </a:r>
              <a:r>
                <a:rPr lang="en-US" dirty="0">
                  <a:solidFill>
                    <a:schemeClr val="tx1"/>
                  </a:solidFill>
                </a:rPr>
                <a:t>consistent with economic challenges and to have the </a:t>
              </a:r>
              <a:r>
                <a:rPr lang="en-US" b="1" dirty="0">
                  <a:solidFill>
                    <a:schemeClr val="tx1"/>
                  </a:solidFill>
                </a:rPr>
                <a:t>correct balance </a:t>
              </a:r>
              <a:r>
                <a:rPr lang="en-US" dirty="0">
                  <a:solidFill>
                    <a:schemeClr val="tx1"/>
                  </a:solidFill>
                </a:rPr>
                <a:t>between </a:t>
              </a:r>
              <a:r>
                <a:rPr lang="en-US" b="1" dirty="0">
                  <a:solidFill>
                    <a:schemeClr val="tx1"/>
                  </a:solidFill>
                </a:rPr>
                <a:t>environmental progress </a:t>
              </a:r>
              <a:r>
                <a:rPr lang="en-US" dirty="0">
                  <a:solidFill>
                    <a:schemeClr val="tx1"/>
                  </a:solidFill>
                </a:rPr>
                <a:t>and </a:t>
              </a:r>
              <a:r>
                <a:rPr lang="en-US" b="1" dirty="0">
                  <a:solidFill>
                    <a:schemeClr val="tx1"/>
                  </a:solidFill>
                </a:rPr>
                <a:t>well-being </a:t>
              </a:r>
              <a:r>
                <a:rPr lang="en-US" dirty="0">
                  <a:solidFill>
                    <a:schemeClr val="tx1"/>
                  </a:solidFill>
                </a:rPr>
                <a:t>through a </a:t>
              </a:r>
              <a:r>
                <a:rPr lang="en-US" b="1" dirty="0">
                  <a:solidFill>
                    <a:schemeClr val="tx1"/>
                  </a:solidFill>
                </a:rPr>
                <a:t>scientific approach</a:t>
              </a:r>
            </a:p>
          </p:txBody>
        </p:sp>
        <p:cxnSp>
          <p:nvCxnSpPr>
            <p:cNvPr id="225" name="Straight Connector 224">
              <a:extLst>
                <a:ext uri="{FF2B5EF4-FFF2-40B4-BE49-F238E27FC236}">
                  <a16:creationId xmlns:a16="http://schemas.microsoft.com/office/drawing/2014/main" id="{F3A67A81-27B4-0712-0B33-D8E179464313}"/>
                </a:ext>
              </a:extLst>
            </p:cNvPr>
            <p:cNvCxnSpPr>
              <a:cxnSpLocks/>
            </p:cNvCxnSpPr>
            <p:nvPr/>
          </p:nvCxnSpPr>
          <p:spPr>
            <a:xfrm>
              <a:off x="822345" y="2104471"/>
              <a:ext cx="7499311" cy="0"/>
            </a:xfrm>
            <a:prstGeom prst="line">
              <a:avLst/>
            </a:prstGeom>
            <a:ln w="1905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6" name="Straight Connector 225">
              <a:extLst>
                <a:ext uri="{FF2B5EF4-FFF2-40B4-BE49-F238E27FC236}">
                  <a16:creationId xmlns:a16="http://schemas.microsoft.com/office/drawing/2014/main" id="{0FC00260-1064-BDBD-82FC-C41AE013DCDF}"/>
                </a:ext>
              </a:extLst>
            </p:cNvPr>
            <p:cNvCxnSpPr>
              <a:cxnSpLocks/>
            </p:cNvCxnSpPr>
            <p:nvPr/>
          </p:nvCxnSpPr>
          <p:spPr>
            <a:xfrm>
              <a:off x="822345" y="3188881"/>
              <a:ext cx="7499311" cy="0"/>
            </a:xfrm>
            <a:prstGeom prst="line">
              <a:avLst/>
            </a:prstGeom>
            <a:ln w="1905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51" name="Freeform 26">
            <a:extLst>
              <a:ext uri="{FF2B5EF4-FFF2-40B4-BE49-F238E27FC236}">
                <a16:creationId xmlns:a16="http://schemas.microsoft.com/office/drawing/2014/main" id="{C74BC9DB-75CF-3F2E-1DCC-2AE008AFDEB5}"/>
              </a:ext>
            </a:extLst>
          </p:cNvPr>
          <p:cNvSpPr>
            <a:spLocks noEditPoints="1"/>
          </p:cNvSpPr>
          <p:nvPr/>
        </p:nvSpPr>
        <p:spPr bwMode="auto">
          <a:xfrm>
            <a:off x="3475448" y="2387815"/>
            <a:ext cx="2160588" cy="624095"/>
          </a:xfrm>
          <a:custGeom>
            <a:avLst/>
            <a:gdLst>
              <a:gd name="T0" fmla="*/ 2147483646 w 202"/>
              <a:gd name="T1" fmla="*/ 2147483646 h 184"/>
              <a:gd name="T2" fmla="*/ 2147483646 w 202"/>
              <a:gd name="T3" fmla="*/ 2147483646 h 184"/>
              <a:gd name="T4" fmla="*/ 2147483646 w 202"/>
              <a:gd name="T5" fmla="*/ 2147483646 h 184"/>
              <a:gd name="T6" fmla="*/ 2147483646 w 202"/>
              <a:gd name="T7" fmla="*/ 2147483646 h 184"/>
              <a:gd name="T8" fmla="*/ 2147483646 w 202"/>
              <a:gd name="T9" fmla="*/ 2147483646 h 184"/>
              <a:gd name="T10" fmla="*/ 2147483646 w 202"/>
              <a:gd name="T11" fmla="*/ 2147483646 h 184"/>
              <a:gd name="T12" fmla="*/ 2147483646 w 202"/>
              <a:gd name="T13" fmla="*/ 2147483646 h 184"/>
              <a:gd name="T14" fmla="*/ 2147483646 w 202"/>
              <a:gd name="T15" fmla="*/ 2147483646 h 184"/>
              <a:gd name="T16" fmla="*/ 2147483646 w 202"/>
              <a:gd name="T17" fmla="*/ 2147483646 h 184"/>
              <a:gd name="T18" fmla="*/ 2147483646 w 202"/>
              <a:gd name="T19" fmla="*/ 2147483646 h 184"/>
              <a:gd name="T20" fmla="*/ 2147483646 w 202"/>
              <a:gd name="T21" fmla="*/ 2147483646 h 184"/>
              <a:gd name="T22" fmla="*/ 2147483646 w 202"/>
              <a:gd name="T23" fmla="*/ 2147483646 h 184"/>
              <a:gd name="T24" fmla="*/ 2147483646 w 202"/>
              <a:gd name="T25" fmla="*/ 2147483646 h 184"/>
              <a:gd name="T26" fmla="*/ 2147483646 w 202"/>
              <a:gd name="T27" fmla="*/ 2147483646 h 184"/>
              <a:gd name="T28" fmla="*/ 2147483646 w 202"/>
              <a:gd name="T29" fmla="*/ 2147483646 h 184"/>
              <a:gd name="T30" fmla="*/ 2147483646 w 202"/>
              <a:gd name="T31" fmla="*/ 2147483646 h 184"/>
              <a:gd name="T32" fmla="*/ 2147483646 w 202"/>
              <a:gd name="T33" fmla="*/ 2147483646 h 184"/>
              <a:gd name="T34" fmla="*/ 2147483646 w 202"/>
              <a:gd name="T35" fmla="*/ 2147483646 h 184"/>
              <a:gd name="T36" fmla="*/ 2147483646 w 202"/>
              <a:gd name="T37" fmla="*/ 2147483646 h 184"/>
              <a:gd name="T38" fmla="*/ 2147483646 w 202"/>
              <a:gd name="T39" fmla="*/ 2147483646 h 184"/>
              <a:gd name="T40" fmla="*/ 2147483646 w 202"/>
              <a:gd name="T41" fmla="*/ 2147483646 h 184"/>
              <a:gd name="T42" fmla="*/ 2147483646 w 202"/>
              <a:gd name="T43" fmla="*/ 2147483646 h 184"/>
              <a:gd name="T44" fmla="*/ 2147483646 w 202"/>
              <a:gd name="T45" fmla="*/ 2147483646 h 184"/>
              <a:gd name="T46" fmla="*/ 2147483646 w 202"/>
              <a:gd name="T47" fmla="*/ 2147483646 h 184"/>
              <a:gd name="T48" fmla="*/ 2147483646 w 202"/>
              <a:gd name="T49" fmla="*/ 2147483646 h 184"/>
              <a:gd name="T50" fmla="*/ 2147483646 w 202"/>
              <a:gd name="T51" fmla="*/ 2147483646 h 184"/>
              <a:gd name="T52" fmla="*/ 2147483646 w 202"/>
              <a:gd name="T53" fmla="*/ 2147483646 h 184"/>
              <a:gd name="T54" fmla="*/ 2147483646 w 202"/>
              <a:gd name="T55" fmla="*/ 2147483646 h 184"/>
              <a:gd name="T56" fmla="*/ 2147483646 w 202"/>
              <a:gd name="T57" fmla="*/ 2147483646 h 184"/>
              <a:gd name="T58" fmla="*/ 2147483646 w 202"/>
              <a:gd name="T59" fmla="*/ 2147483646 h 184"/>
              <a:gd name="T60" fmla="*/ 2147483646 w 202"/>
              <a:gd name="T61" fmla="*/ 2147483646 h 184"/>
              <a:gd name="T62" fmla="*/ 2147483646 w 202"/>
              <a:gd name="T63" fmla="*/ 2147483646 h 184"/>
              <a:gd name="T64" fmla="*/ 2147483646 w 202"/>
              <a:gd name="T65" fmla="*/ 2147483646 h 184"/>
              <a:gd name="T66" fmla="*/ 2147483646 w 202"/>
              <a:gd name="T67" fmla="*/ 2147483646 h 184"/>
              <a:gd name="T68" fmla="*/ 2147483646 w 202"/>
              <a:gd name="T69" fmla="*/ 2147483646 h 184"/>
              <a:gd name="T70" fmla="*/ 2147483646 w 202"/>
              <a:gd name="T71" fmla="*/ 2147483646 h 184"/>
              <a:gd name="T72" fmla="*/ 2147483646 w 202"/>
              <a:gd name="T73" fmla="*/ 2147483646 h 184"/>
              <a:gd name="T74" fmla="*/ 2147483646 w 202"/>
              <a:gd name="T75" fmla="*/ 2147483646 h 184"/>
              <a:gd name="T76" fmla="*/ 2147483646 w 202"/>
              <a:gd name="T77" fmla="*/ 2147483646 h 184"/>
              <a:gd name="T78" fmla="*/ 2147483646 w 202"/>
              <a:gd name="T79" fmla="*/ 2147483646 h 184"/>
              <a:gd name="T80" fmla="*/ 2147483646 w 202"/>
              <a:gd name="T81" fmla="*/ 2147483646 h 184"/>
              <a:gd name="T82" fmla="*/ 2147483646 w 202"/>
              <a:gd name="T83" fmla="*/ 2147483646 h 184"/>
              <a:gd name="T84" fmla="*/ 2147483646 w 202"/>
              <a:gd name="T85" fmla="*/ 2147483646 h 184"/>
              <a:gd name="T86" fmla="*/ 2147483646 w 202"/>
              <a:gd name="T87" fmla="*/ 2147483646 h 184"/>
              <a:gd name="T88" fmla="*/ 2147483646 w 202"/>
              <a:gd name="T89" fmla="*/ 2147483646 h 184"/>
              <a:gd name="T90" fmla="*/ 2147483646 w 202"/>
              <a:gd name="T91" fmla="*/ 2147483646 h 184"/>
              <a:gd name="T92" fmla="*/ 2147483646 w 202"/>
              <a:gd name="T93" fmla="*/ 2147483646 h 184"/>
              <a:gd name="T94" fmla="*/ 2147483646 w 202"/>
              <a:gd name="T95" fmla="*/ 2147483646 h 184"/>
              <a:gd name="T96" fmla="*/ 2147483646 w 202"/>
              <a:gd name="T97" fmla="*/ 2147483646 h 184"/>
              <a:gd name="T98" fmla="*/ 2147483646 w 202"/>
              <a:gd name="T99" fmla="*/ 2147483646 h 184"/>
              <a:gd name="T100" fmla="*/ 2147483646 w 202"/>
              <a:gd name="T101" fmla="*/ 2147483646 h 184"/>
              <a:gd name="T102" fmla="*/ 2147483646 w 202"/>
              <a:gd name="T103" fmla="*/ 2147483646 h 184"/>
              <a:gd name="T104" fmla="*/ 2147483646 w 202"/>
              <a:gd name="T105" fmla="*/ 2147483646 h 184"/>
              <a:gd name="T106" fmla="*/ 2147483646 w 202"/>
              <a:gd name="T107" fmla="*/ 2147483646 h 184"/>
              <a:gd name="T108" fmla="*/ 2147483646 w 202"/>
              <a:gd name="T109" fmla="*/ 2147483646 h 184"/>
              <a:gd name="T110" fmla="*/ 2147483646 w 202"/>
              <a:gd name="T111" fmla="*/ 2147483646 h 184"/>
              <a:gd name="T112" fmla="*/ 2147483646 w 202"/>
              <a:gd name="T113" fmla="*/ 2147483646 h 184"/>
              <a:gd name="T114" fmla="*/ 2147483646 w 202"/>
              <a:gd name="T115" fmla="*/ 2147483646 h 184"/>
              <a:gd name="T116" fmla="*/ 2147483646 w 202"/>
              <a:gd name="T117" fmla="*/ 2147483646 h 184"/>
              <a:gd name="T118" fmla="*/ 2147483646 w 202"/>
              <a:gd name="T119" fmla="*/ 2147483646 h 184"/>
              <a:gd name="T120" fmla="*/ 2147483646 w 202"/>
              <a:gd name="T121" fmla="*/ 2147483646 h 184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w 202"/>
              <a:gd name="T184" fmla="*/ 0 h 184"/>
              <a:gd name="T185" fmla="*/ 202 w 202"/>
              <a:gd name="T186" fmla="*/ 184 h 184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T183" t="T184" r="T185" b="T186"/>
            <a:pathLst>
              <a:path w="202" h="184">
                <a:moveTo>
                  <a:pt x="126" y="177"/>
                </a:moveTo>
                <a:cubicBezTo>
                  <a:pt x="124" y="177"/>
                  <a:pt x="123" y="179"/>
                  <a:pt x="121" y="178"/>
                </a:cubicBezTo>
                <a:cubicBezTo>
                  <a:pt x="119" y="176"/>
                  <a:pt x="118" y="175"/>
                  <a:pt x="119" y="173"/>
                </a:cubicBezTo>
                <a:cubicBezTo>
                  <a:pt x="118" y="174"/>
                  <a:pt x="117" y="174"/>
                  <a:pt x="116" y="174"/>
                </a:cubicBezTo>
                <a:cubicBezTo>
                  <a:pt x="114" y="175"/>
                  <a:pt x="112" y="177"/>
                  <a:pt x="111" y="178"/>
                </a:cubicBezTo>
                <a:cubicBezTo>
                  <a:pt x="107" y="179"/>
                  <a:pt x="107" y="179"/>
                  <a:pt x="104" y="177"/>
                </a:cubicBezTo>
                <a:cubicBezTo>
                  <a:pt x="102" y="178"/>
                  <a:pt x="101" y="178"/>
                  <a:pt x="98" y="178"/>
                </a:cubicBezTo>
                <a:cubicBezTo>
                  <a:pt x="97" y="177"/>
                  <a:pt x="96" y="178"/>
                  <a:pt x="95" y="179"/>
                </a:cubicBezTo>
                <a:cubicBezTo>
                  <a:pt x="93" y="179"/>
                  <a:pt x="91" y="180"/>
                  <a:pt x="89" y="181"/>
                </a:cubicBezTo>
                <a:cubicBezTo>
                  <a:pt x="88" y="181"/>
                  <a:pt x="87" y="182"/>
                  <a:pt x="86" y="180"/>
                </a:cubicBezTo>
                <a:cubicBezTo>
                  <a:pt x="86" y="179"/>
                  <a:pt x="85" y="179"/>
                  <a:pt x="85" y="178"/>
                </a:cubicBezTo>
                <a:cubicBezTo>
                  <a:pt x="85" y="177"/>
                  <a:pt x="85" y="177"/>
                  <a:pt x="85" y="176"/>
                </a:cubicBezTo>
                <a:cubicBezTo>
                  <a:pt x="86" y="175"/>
                  <a:pt x="87" y="174"/>
                  <a:pt x="88" y="173"/>
                </a:cubicBezTo>
                <a:cubicBezTo>
                  <a:pt x="88" y="173"/>
                  <a:pt x="88" y="173"/>
                  <a:pt x="88" y="173"/>
                </a:cubicBezTo>
                <a:cubicBezTo>
                  <a:pt x="86" y="171"/>
                  <a:pt x="84" y="172"/>
                  <a:pt x="83" y="173"/>
                </a:cubicBezTo>
                <a:cubicBezTo>
                  <a:pt x="80" y="176"/>
                  <a:pt x="78" y="174"/>
                  <a:pt x="77" y="171"/>
                </a:cubicBezTo>
                <a:cubicBezTo>
                  <a:pt x="74" y="172"/>
                  <a:pt x="70" y="173"/>
                  <a:pt x="68" y="175"/>
                </a:cubicBezTo>
                <a:cubicBezTo>
                  <a:pt x="66" y="176"/>
                  <a:pt x="65" y="177"/>
                  <a:pt x="64" y="177"/>
                </a:cubicBezTo>
                <a:cubicBezTo>
                  <a:pt x="63" y="178"/>
                  <a:pt x="62" y="177"/>
                  <a:pt x="61" y="176"/>
                </a:cubicBezTo>
                <a:cubicBezTo>
                  <a:pt x="61" y="176"/>
                  <a:pt x="61" y="175"/>
                  <a:pt x="60" y="174"/>
                </a:cubicBezTo>
                <a:cubicBezTo>
                  <a:pt x="58" y="175"/>
                  <a:pt x="57" y="176"/>
                  <a:pt x="55" y="177"/>
                </a:cubicBezTo>
                <a:cubicBezTo>
                  <a:pt x="54" y="179"/>
                  <a:pt x="52" y="180"/>
                  <a:pt x="51" y="181"/>
                </a:cubicBezTo>
                <a:cubicBezTo>
                  <a:pt x="49" y="183"/>
                  <a:pt x="46" y="182"/>
                  <a:pt x="46" y="179"/>
                </a:cubicBezTo>
                <a:cubicBezTo>
                  <a:pt x="46" y="178"/>
                  <a:pt x="46" y="178"/>
                  <a:pt x="46" y="177"/>
                </a:cubicBezTo>
                <a:cubicBezTo>
                  <a:pt x="44" y="179"/>
                  <a:pt x="42" y="180"/>
                  <a:pt x="41" y="181"/>
                </a:cubicBezTo>
                <a:cubicBezTo>
                  <a:pt x="39" y="182"/>
                  <a:pt x="38" y="183"/>
                  <a:pt x="37" y="184"/>
                </a:cubicBezTo>
                <a:cubicBezTo>
                  <a:pt x="36" y="184"/>
                  <a:pt x="35" y="184"/>
                  <a:pt x="34" y="183"/>
                </a:cubicBezTo>
                <a:cubicBezTo>
                  <a:pt x="32" y="182"/>
                  <a:pt x="32" y="179"/>
                  <a:pt x="34" y="177"/>
                </a:cubicBezTo>
                <a:cubicBezTo>
                  <a:pt x="34" y="177"/>
                  <a:pt x="35" y="176"/>
                  <a:pt x="35" y="176"/>
                </a:cubicBezTo>
                <a:cubicBezTo>
                  <a:pt x="35" y="176"/>
                  <a:pt x="35" y="176"/>
                  <a:pt x="35" y="176"/>
                </a:cubicBezTo>
                <a:cubicBezTo>
                  <a:pt x="34" y="176"/>
                  <a:pt x="33" y="177"/>
                  <a:pt x="32" y="178"/>
                </a:cubicBezTo>
                <a:cubicBezTo>
                  <a:pt x="31" y="179"/>
                  <a:pt x="30" y="180"/>
                  <a:pt x="28" y="180"/>
                </a:cubicBezTo>
                <a:cubicBezTo>
                  <a:pt x="27" y="181"/>
                  <a:pt x="26" y="181"/>
                  <a:pt x="25" y="180"/>
                </a:cubicBezTo>
                <a:cubicBezTo>
                  <a:pt x="24" y="178"/>
                  <a:pt x="23" y="178"/>
                  <a:pt x="24" y="176"/>
                </a:cubicBezTo>
                <a:cubicBezTo>
                  <a:pt x="22" y="177"/>
                  <a:pt x="21" y="178"/>
                  <a:pt x="20" y="179"/>
                </a:cubicBezTo>
                <a:cubicBezTo>
                  <a:pt x="19" y="180"/>
                  <a:pt x="17" y="180"/>
                  <a:pt x="16" y="179"/>
                </a:cubicBezTo>
                <a:cubicBezTo>
                  <a:pt x="16" y="179"/>
                  <a:pt x="15" y="178"/>
                  <a:pt x="15" y="178"/>
                </a:cubicBezTo>
                <a:cubicBezTo>
                  <a:pt x="14" y="177"/>
                  <a:pt x="14" y="176"/>
                  <a:pt x="15" y="174"/>
                </a:cubicBezTo>
                <a:cubicBezTo>
                  <a:pt x="12" y="174"/>
                  <a:pt x="10" y="172"/>
                  <a:pt x="11" y="171"/>
                </a:cubicBezTo>
                <a:cubicBezTo>
                  <a:pt x="11" y="169"/>
                  <a:pt x="13" y="167"/>
                  <a:pt x="13" y="166"/>
                </a:cubicBezTo>
                <a:cubicBezTo>
                  <a:pt x="12" y="164"/>
                  <a:pt x="11" y="163"/>
                  <a:pt x="9" y="161"/>
                </a:cubicBezTo>
                <a:cubicBezTo>
                  <a:pt x="12" y="157"/>
                  <a:pt x="16" y="154"/>
                  <a:pt x="18" y="149"/>
                </a:cubicBezTo>
                <a:cubicBezTo>
                  <a:pt x="18" y="149"/>
                  <a:pt x="18" y="149"/>
                  <a:pt x="18" y="149"/>
                </a:cubicBezTo>
                <a:cubicBezTo>
                  <a:pt x="17" y="149"/>
                  <a:pt x="17" y="150"/>
                  <a:pt x="16" y="151"/>
                </a:cubicBezTo>
                <a:cubicBezTo>
                  <a:pt x="14" y="152"/>
                  <a:pt x="12" y="151"/>
                  <a:pt x="11" y="149"/>
                </a:cubicBezTo>
                <a:cubicBezTo>
                  <a:pt x="10" y="148"/>
                  <a:pt x="11" y="147"/>
                  <a:pt x="12" y="146"/>
                </a:cubicBezTo>
                <a:cubicBezTo>
                  <a:pt x="14" y="143"/>
                  <a:pt x="16" y="140"/>
                  <a:pt x="18" y="137"/>
                </a:cubicBezTo>
                <a:cubicBezTo>
                  <a:pt x="17" y="138"/>
                  <a:pt x="15" y="139"/>
                  <a:pt x="14" y="140"/>
                </a:cubicBezTo>
                <a:cubicBezTo>
                  <a:pt x="12" y="141"/>
                  <a:pt x="10" y="141"/>
                  <a:pt x="9" y="140"/>
                </a:cubicBezTo>
                <a:cubicBezTo>
                  <a:pt x="8" y="139"/>
                  <a:pt x="7" y="137"/>
                  <a:pt x="8" y="135"/>
                </a:cubicBezTo>
                <a:cubicBezTo>
                  <a:pt x="9" y="133"/>
                  <a:pt x="11" y="131"/>
                  <a:pt x="12" y="129"/>
                </a:cubicBezTo>
                <a:cubicBezTo>
                  <a:pt x="12" y="128"/>
                  <a:pt x="13" y="128"/>
                  <a:pt x="13" y="128"/>
                </a:cubicBezTo>
                <a:cubicBezTo>
                  <a:pt x="10" y="128"/>
                  <a:pt x="8" y="126"/>
                  <a:pt x="8" y="124"/>
                </a:cubicBezTo>
                <a:cubicBezTo>
                  <a:pt x="8" y="123"/>
                  <a:pt x="9" y="122"/>
                  <a:pt x="9" y="121"/>
                </a:cubicBezTo>
                <a:cubicBezTo>
                  <a:pt x="10" y="120"/>
                  <a:pt x="12" y="118"/>
                  <a:pt x="13" y="116"/>
                </a:cubicBezTo>
                <a:cubicBezTo>
                  <a:pt x="12" y="116"/>
                  <a:pt x="12" y="116"/>
                  <a:pt x="11" y="116"/>
                </a:cubicBezTo>
                <a:cubicBezTo>
                  <a:pt x="9" y="117"/>
                  <a:pt x="7" y="115"/>
                  <a:pt x="7" y="113"/>
                </a:cubicBezTo>
                <a:cubicBezTo>
                  <a:pt x="7" y="112"/>
                  <a:pt x="7" y="111"/>
                  <a:pt x="8" y="110"/>
                </a:cubicBezTo>
                <a:cubicBezTo>
                  <a:pt x="9" y="108"/>
                  <a:pt x="11" y="106"/>
                  <a:pt x="13" y="104"/>
                </a:cubicBezTo>
                <a:cubicBezTo>
                  <a:pt x="11" y="104"/>
                  <a:pt x="9" y="106"/>
                  <a:pt x="7" y="104"/>
                </a:cubicBezTo>
                <a:cubicBezTo>
                  <a:pt x="6" y="104"/>
                  <a:pt x="6" y="102"/>
                  <a:pt x="5" y="101"/>
                </a:cubicBezTo>
                <a:cubicBezTo>
                  <a:pt x="7" y="99"/>
                  <a:pt x="8" y="98"/>
                  <a:pt x="9" y="96"/>
                </a:cubicBezTo>
                <a:cubicBezTo>
                  <a:pt x="8" y="95"/>
                  <a:pt x="8" y="94"/>
                  <a:pt x="7" y="92"/>
                </a:cubicBezTo>
                <a:cubicBezTo>
                  <a:pt x="7" y="92"/>
                  <a:pt x="6" y="92"/>
                  <a:pt x="6" y="92"/>
                </a:cubicBezTo>
                <a:cubicBezTo>
                  <a:pt x="4" y="91"/>
                  <a:pt x="3" y="88"/>
                  <a:pt x="4" y="86"/>
                </a:cubicBezTo>
                <a:cubicBezTo>
                  <a:pt x="4" y="86"/>
                  <a:pt x="5" y="86"/>
                  <a:pt x="5" y="85"/>
                </a:cubicBezTo>
                <a:cubicBezTo>
                  <a:pt x="6" y="85"/>
                  <a:pt x="6" y="84"/>
                  <a:pt x="5" y="83"/>
                </a:cubicBezTo>
                <a:cubicBezTo>
                  <a:pt x="4" y="82"/>
                  <a:pt x="4" y="81"/>
                  <a:pt x="5" y="79"/>
                </a:cubicBezTo>
                <a:cubicBezTo>
                  <a:pt x="6" y="77"/>
                  <a:pt x="7" y="76"/>
                  <a:pt x="8" y="74"/>
                </a:cubicBezTo>
                <a:cubicBezTo>
                  <a:pt x="9" y="74"/>
                  <a:pt x="8" y="73"/>
                  <a:pt x="8" y="73"/>
                </a:cubicBezTo>
                <a:cubicBezTo>
                  <a:pt x="5" y="70"/>
                  <a:pt x="6" y="69"/>
                  <a:pt x="8" y="67"/>
                </a:cubicBezTo>
                <a:cubicBezTo>
                  <a:pt x="9" y="66"/>
                  <a:pt x="9" y="65"/>
                  <a:pt x="8" y="65"/>
                </a:cubicBezTo>
                <a:cubicBezTo>
                  <a:pt x="6" y="62"/>
                  <a:pt x="6" y="63"/>
                  <a:pt x="8" y="60"/>
                </a:cubicBezTo>
                <a:cubicBezTo>
                  <a:pt x="10" y="57"/>
                  <a:pt x="12" y="55"/>
                  <a:pt x="14" y="53"/>
                </a:cubicBezTo>
                <a:cubicBezTo>
                  <a:pt x="14" y="52"/>
                  <a:pt x="14" y="52"/>
                  <a:pt x="14" y="52"/>
                </a:cubicBezTo>
                <a:cubicBezTo>
                  <a:pt x="13" y="53"/>
                  <a:pt x="12" y="54"/>
                  <a:pt x="11" y="54"/>
                </a:cubicBezTo>
                <a:cubicBezTo>
                  <a:pt x="10" y="56"/>
                  <a:pt x="8" y="58"/>
                  <a:pt x="6" y="60"/>
                </a:cubicBezTo>
                <a:cubicBezTo>
                  <a:pt x="5" y="62"/>
                  <a:pt x="3" y="62"/>
                  <a:pt x="2" y="60"/>
                </a:cubicBezTo>
                <a:cubicBezTo>
                  <a:pt x="0" y="57"/>
                  <a:pt x="2" y="55"/>
                  <a:pt x="3" y="54"/>
                </a:cubicBezTo>
                <a:cubicBezTo>
                  <a:pt x="6" y="50"/>
                  <a:pt x="10" y="47"/>
                  <a:pt x="13" y="43"/>
                </a:cubicBezTo>
                <a:cubicBezTo>
                  <a:pt x="11" y="44"/>
                  <a:pt x="8" y="42"/>
                  <a:pt x="8" y="39"/>
                </a:cubicBezTo>
                <a:cubicBezTo>
                  <a:pt x="8" y="38"/>
                  <a:pt x="8" y="37"/>
                  <a:pt x="9" y="37"/>
                </a:cubicBezTo>
                <a:cubicBezTo>
                  <a:pt x="10" y="37"/>
                  <a:pt x="11" y="36"/>
                  <a:pt x="11" y="35"/>
                </a:cubicBezTo>
                <a:cubicBezTo>
                  <a:pt x="10" y="34"/>
                  <a:pt x="10" y="32"/>
                  <a:pt x="9" y="31"/>
                </a:cubicBezTo>
                <a:cubicBezTo>
                  <a:pt x="9" y="30"/>
                  <a:pt x="9" y="29"/>
                  <a:pt x="10" y="29"/>
                </a:cubicBezTo>
                <a:cubicBezTo>
                  <a:pt x="11" y="28"/>
                  <a:pt x="13" y="27"/>
                  <a:pt x="14" y="25"/>
                </a:cubicBezTo>
                <a:cubicBezTo>
                  <a:pt x="14" y="25"/>
                  <a:pt x="15" y="24"/>
                  <a:pt x="15" y="24"/>
                </a:cubicBezTo>
                <a:cubicBezTo>
                  <a:pt x="14" y="23"/>
                  <a:pt x="15" y="22"/>
                  <a:pt x="14" y="21"/>
                </a:cubicBezTo>
                <a:cubicBezTo>
                  <a:pt x="13" y="21"/>
                  <a:pt x="13" y="19"/>
                  <a:pt x="14" y="19"/>
                </a:cubicBezTo>
                <a:cubicBezTo>
                  <a:pt x="15" y="17"/>
                  <a:pt x="16" y="16"/>
                  <a:pt x="18" y="14"/>
                </a:cubicBezTo>
                <a:cubicBezTo>
                  <a:pt x="18" y="14"/>
                  <a:pt x="19" y="13"/>
                  <a:pt x="20" y="12"/>
                </a:cubicBezTo>
                <a:cubicBezTo>
                  <a:pt x="21" y="11"/>
                  <a:pt x="22" y="11"/>
                  <a:pt x="23" y="12"/>
                </a:cubicBezTo>
                <a:cubicBezTo>
                  <a:pt x="24" y="13"/>
                  <a:pt x="26" y="13"/>
                  <a:pt x="27" y="13"/>
                </a:cubicBezTo>
                <a:cubicBezTo>
                  <a:pt x="28" y="13"/>
                  <a:pt x="28" y="13"/>
                  <a:pt x="29" y="14"/>
                </a:cubicBezTo>
                <a:cubicBezTo>
                  <a:pt x="30" y="14"/>
                  <a:pt x="30" y="14"/>
                  <a:pt x="31" y="14"/>
                </a:cubicBezTo>
                <a:cubicBezTo>
                  <a:pt x="33" y="12"/>
                  <a:pt x="35" y="10"/>
                  <a:pt x="37" y="8"/>
                </a:cubicBezTo>
                <a:cubicBezTo>
                  <a:pt x="38" y="8"/>
                  <a:pt x="38" y="8"/>
                  <a:pt x="38" y="8"/>
                </a:cubicBezTo>
                <a:cubicBezTo>
                  <a:pt x="40" y="7"/>
                  <a:pt x="43" y="10"/>
                  <a:pt x="43" y="12"/>
                </a:cubicBezTo>
                <a:cubicBezTo>
                  <a:pt x="46" y="10"/>
                  <a:pt x="49" y="8"/>
                  <a:pt x="52" y="5"/>
                </a:cubicBezTo>
                <a:cubicBezTo>
                  <a:pt x="54" y="3"/>
                  <a:pt x="57" y="4"/>
                  <a:pt x="58" y="7"/>
                </a:cubicBezTo>
                <a:cubicBezTo>
                  <a:pt x="58" y="7"/>
                  <a:pt x="58" y="8"/>
                  <a:pt x="58" y="9"/>
                </a:cubicBezTo>
                <a:cubicBezTo>
                  <a:pt x="59" y="8"/>
                  <a:pt x="60" y="7"/>
                  <a:pt x="61" y="6"/>
                </a:cubicBezTo>
                <a:cubicBezTo>
                  <a:pt x="62" y="4"/>
                  <a:pt x="64" y="4"/>
                  <a:pt x="65" y="6"/>
                </a:cubicBezTo>
                <a:cubicBezTo>
                  <a:pt x="66" y="6"/>
                  <a:pt x="67" y="7"/>
                  <a:pt x="67" y="8"/>
                </a:cubicBezTo>
                <a:cubicBezTo>
                  <a:pt x="67" y="8"/>
                  <a:pt x="68" y="8"/>
                  <a:pt x="68" y="8"/>
                </a:cubicBezTo>
                <a:cubicBezTo>
                  <a:pt x="70" y="6"/>
                  <a:pt x="71" y="5"/>
                  <a:pt x="72" y="4"/>
                </a:cubicBezTo>
                <a:cubicBezTo>
                  <a:pt x="73" y="4"/>
                  <a:pt x="73" y="4"/>
                  <a:pt x="73" y="4"/>
                </a:cubicBezTo>
                <a:cubicBezTo>
                  <a:pt x="75" y="4"/>
                  <a:pt x="77" y="7"/>
                  <a:pt x="76" y="9"/>
                </a:cubicBezTo>
                <a:cubicBezTo>
                  <a:pt x="76" y="9"/>
                  <a:pt x="76" y="9"/>
                  <a:pt x="76" y="9"/>
                </a:cubicBezTo>
                <a:cubicBezTo>
                  <a:pt x="71" y="14"/>
                  <a:pt x="65" y="18"/>
                  <a:pt x="60" y="22"/>
                </a:cubicBezTo>
                <a:cubicBezTo>
                  <a:pt x="58" y="24"/>
                  <a:pt x="56" y="26"/>
                  <a:pt x="53" y="28"/>
                </a:cubicBezTo>
                <a:cubicBezTo>
                  <a:pt x="53" y="29"/>
                  <a:pt x="52" y="29"/>
                  <a:pt x="52" y="29"/>
                </a:cubicBezTo>
                <a:cubicBezTo>
                  <a:pt x="53" y="29"/>
                  <a:pt x="54" y="28"/>
                  <a:pt x="54" y="28"/>
                </a:cubicBezTo>
                <a:cubicBezTo>
                  <a:pt x="58" y="25"/>
                  <a:pt x="62" y="22"/>
                  <a:pt x="66" y="19"/>
                </a:cubicBezTo>
                <a:cubicBezTo>
                  <a:pt x="69" y="17"/>
                  <a:pt x="72" y="14"/>
                  <a:pt x="75" y="12"/>
                </a:cubicBezTo>
                <a:cubicBezTo>
                  <a:pt x="76" y="11"/>
                  <a:pt x="78" y="10"/>
                  <a:pt x="80" y="8"/>
                </a:cubicBezTo>
                <a:cubicBezTo>
                  <a:pt x="80" y="8"/>
                  <a:pt x="83" y="9"/>
                  <a:pt x="83" y="10"/>
                </a:cubicBezTo>
                <a:cubicBezTo>
                  <a:pt x="83" y="11"/>
                  <a:pt x="83" y="11"/>
                  <a:pt x="84" y="12"/>
                </a:cubicBezTo>
                <a:cubicBezTo>
                  <a:pt x="86" y="10"/>
                  <a:pt x="88" y="9"/>
                  <a:pt x="91" y="7"/>
                </a:cubicBezTo>
                <a:cubicBezTo>
                  <a:pt x="94" y="6"/>
                  <a:pt x="96" y="4"/>
                  <a:pt x="99" y="2"/>
                </a:cubicBezTo>
                <a:cubicBezTo>
                  <a:pt x="100" y="1"/>
                  <a:pt x="101" y="1"/>
                  <a:pt x="102" y="2"/>
                </a:cubicBezTo>
                <a:cubicBezTo>
                  <a:pt x="104" y="3"/>
                  <a:pt x="105" y="4"/>
                  <a:pt x="107" y="5"/>
                </a:cubicBezTo>
                <a:cubicBezTo>
                  <a:pt x="108" y="6"/>
                  <a:pt x="108" y="7"/>
                  <a:pt x="107" y="8"/>
                </a:cubicBezTo>
                <a:cubicBezTo>
                  <a:pt x="105" y="11"/>
                  <a:pt x="102" y="13"/>
                  <a:pt x="99" y="15"/>
                </a:cubicBezTo>
                <a:cubicBezTo>
                  <a:pt x="98" y="16"/>
                  <a:pt x="97" y="17"/>
                  <a:pt x="96" y="18"/>
                </a:cubicBezTo>
                <a:cubicBezTo>
                  <a:pt x="96" y="18"/>
                  <a:pt x="97" y="18"/>
                  <a:pt x="97" y="18"/>
                </a:cubicBezTo>
                <a:cubicBezTo>
                  <a:pt x="98" y="17"/>
                  <a:pt x="100" y="15"/>
                  <a:pt x="102" y="14"/>
                </a:cubicBezTo>
                <a:cubicBezTo>
                  <a:pt x="102" y="14"/>
                  <a:pt x="103" y="13"/>
                  <a:pt x="103" y="14"/>
                </a:cubicBezTo>
                <a:cubicBezTo>
                  <a:pt x="104" y="14"/>
                  <a:pt x="105" y="13"/>
                  <a:pt x="105" y="13"/>
                </a:cubicBezTo>
                <a:cubicBezTo>
                  <a:pt x="109" y="10"/>
                  <a:pt x="114" y="8"/>
                  <a:pt x="118" y="6"/>
                </a:cubicBezTo>
                <a:cubicBezTo>
                  <a:pt x="119" y="5"/>
                  <a:pt x="121" y="5"/>
                  <a:pt x="122" y="4"/>
                </a:cubicBezTo>
                <a:cubicBezTo>
                  <a:pt x="123" y="3"/>
                  <a:pt x="124" y="2"/>
                  <a:pt x="125" y="1"/>
                </a:cubicBezTo>
                <a:cubicBezTo>
                  <a:pt x="126" y="1"/>
                  <a:pt x="127" y="0"/>
                  <a:pt x="128" y="1"/>
                </a:cubicBezTo>
                <a:cubicBezTo>
                  <a:pt x="128" y="2"/>
                  <a:pt x="129" y="2"/>
                  <a:pt x="130" y="3"/>
                </a:cubicBezTo>
                <a:cubicBezTo>
                  <a:pt x="131" y="4"/>
                  <a:pt x="130" y="6"/>
                  <a:pt x="129" y="7"/>
                </a:cubicBezTo>
                <a:cubicBezTo>
                  <a:pt x="128" y="8"/>
                  <a:pt x="128" y="8"/>
                  <a:pt x="127" y="8"/>
                </a:cubicBezTo>
                <a:cubicBezTo>
                  <a:pt x="126" y="9"/>
                  <a:pt x="126" y="10"/>
                  <a:pt x="127" y="11"/>
                </a:cubicBezTo>
                <a:cubicBezTo>
                  <a:pt x="125" y="13"/>
                  <a:pt x="122" y="15"/>
                  <a:pt x="120" y="17"/>
                </a:cubicBezTo>
                <a:cubicBezTo>
                  <a:pt x="120" y="17"/>
                  <a:pt x="120" y="17"/>
                  <a:pt x="121" y="18"/>
                </a:cubicBezTo>
                <a:cubicBezTo>
                  <a:pt x="127" y="13"/>
                  <a:pt x="134" y="8"/>
                  <a:pt x="141" y="3"/>
                </a:cubicBezTo>
                <a:cubicBezTo>
                  <a:pt x="142" y="3"/>
                  <a:pt x="143" y="4"/>
                  <a:pt x="144" y="5"/>
                </a:cubicBezTo>
                <a:cubicBezTo>
                  <a:pt x="145" y="4"/>
                  <a:pt x="146" y="3"/>
                  <a:pt x="147" y="3"/>
                </a:cubicBezTo>
                <a:cubicBezTo>
                  <a:pt x="148" y="3"/>
                  <a:pt x="149" y="3"/>
                  <a:pt x="149" y="4"/>
                </a:cubicBezTo>
                <a:cubicBezTo>
                  <a:pt x="150" y="5"/>
                  <a:pt x="150" y="5"/>
                  <a:pt x="151" y="6"/>
                </a:cubicBezTo>
                <a:cubicBezTo>
                  <a:pt x="152" y="5"/>
                  <a:pt x="154" y="3"/>
                  <a:pt x="156" y="2"/>
                </a:cubicBezTo>
                <a:cubicBezTo>
                  <a:pt x="157" y="3"/>
                  <a:pt x="158" y="4"/>
                  <a:pt x="160" y="6"/>
                </a:cubicBezTo>
                <a:cubicBezTo>
                  <a:pt x="160" y="5"/>
                  <a:pt x="161" y="5"/>
                  <a:pt x="161" y="4"/>
                </a:cubicBezTo>
                <a:cubicBezTo>
                  <a:pt x="162" y="3"/>
                  <a:pt x="163" y="3"/>
                  <a:pt x="164" y="4"/>
                </a:cubicBezTo>
                <a:cubicBezTo>
                  <a:pt x="165" y="5"/>
                  <a:pt x="166" y="6"/>
                  <a:pt x="166" y="8"/>
                </a:cubicBezTo>
                <a:cubicBezTo>
                  <a:pt x="166" y="8"/>
                  <a:pt x="166" y="9"/>
                  <a:pt x="166" y="9"/>
                </a:cubicBezTo>
                <a:cubicBezTo>
                  <a:pt x="169" y="8"/>
                  <a:pt x="171" y="8"/>
                  <a:pt x="173" y="7"/>
                </a:cubicBezTo>
                <a:cubicBezTo>
                  <a:pt x="173" y="7"/>
                  <a:pt x="174" y="6"/>
                  <a:pt x="174" y="6"/>
                </a:cubicBezTo>
                <a:cubicBezTo>
                  <a:pt x="175" y="5"/>
                  <a:pt x="175" y="5"/>
                  <a:pt x="176" y="5"/>
                </a:cubicBezTo>
                <a:cubicBezTo>
                  <a:pt x="178" y="5"/>
                  <a:pt x="180" y="7"/>
                  <a:pt x="180" y="9"/>
                </a:cubicBezTo>
                <a:cubicBezTo>
                  <a:pt x="180" y="10"/>
                  <a:pt x="179" y="10"/>
                  <a:pt x="179" y="11"/>
                </a:cubicBezTo>
                <a:cubicBezTo>
                  <a:pt x="181" y="9"/>
                  <a:pt x="183" y="8"/>
                  <a:pt x="185" y="6"/>
                </a:cubicBezTo>
                <a:cubicBezTo>
                  <a:pt x="185" y="5"/>
                  <a:pt x="186" y="4"/>
                  <a:pt x="187" y="4"/>
                </a:cubicBezTo>
                <a:cubicBezTo>
                  <a:pt x="188" y="5"/>
                  <a:pt x="190" y="5"/>
                  <a:pt x="190" y="7"/>
                </a:cubicBezTo>
                <a:cubicBezTo>
                  <a:pt x="190" y="7"/>
                  <a:pt x="190" y="7"/>
                  <a:pt x="191" y="8"/>
                </a:cubicBezTo>
                <a:cubicBezTo>
                  <a:pt x="192" y="9"/>
                  <a:pt x="194" y="11"/>
                  <a:pt x="195" y="13"/>
                </a:cubicBezTo>
                <a:cubicBezTo>
                  <a:pt x="192" y="17"/>
                  <a:pt x="189" y="20"/>
                  <a:pt x="186" y="24"/>
                </a:cubicBezTo>
                <a:cubicBezTo>
                  <a:pt x="186" y="24"/>
                  <a:pt x="186" y="24"/>
                  <a:pt x="187" y="25"/>
                </a:cubicBezTo>
                <a:cubicBezTo>
                  <a:pt x="188" y="24"/>
                  <a:pt x="189" y="23"/>
                  <a:pt x="190" y="22"/>
                </a:cubicBezTo>
                <a:cubicBezTo>
                  <a:pt x="190" y="22"/>
                  <a:pt x="191" y="21"/>
                  <a:pt x="192" y="22"/>
                </a:cubicBezTo>
                <a:cubicBezTo>
                  <a:pt x="195" y="23"/>
                  <a:pt x="196" y="25"/>
                  <a:pt x="194" y="28"/>
                </a:cubicBezTo>
                <a:cubicBezTo>
                  <a:pt x="194" y="29"/>
                  <a:pt x="193" y="30"/>
                  <a:pt x="192" y="31"/>
                </a:cubicBezTo>
                <a:cubicBezTo>
                  <a:pt x="192" y="31"/>
                  <a:pt x="192" y="31"/>
                  <a:pt x="192" y="32"/>
                </a:cubicBezTo>
                <a:cubicBezTo>
                  <a:pt x="193" y="31"/>
                  <a:pt x="194" y="30"/>
                  <a:pt x="195" y="30"/>
                </a:cubicBezTo>
                <a:cubicBezTo>
                  <a:pt x="197" y="28"/>
                  <a:pt x="199" y="28"/>
                  <a:pt x="200" y="30"/>
                </a:cubicBezTo>
                <a:cubicBezTo>
                  <a:pt x="201" y="31"/>
                  <a:pt x="201" y="31"/>
                  <a:pt x="202" y="32"/>
                </a:cubicBezTo>
                <a:cubicBezTo>
                  <a:pt x="199" y="36"/>
                  <a:pt x="196" y="40"/>
                  <a:pt x="193" y="44"/>
                </a:cubicBezTo>
                <a:cubicBezTo>
                  <a:pt x="191" y="46"/>
                  <a:pt x="191" y="47"/>
                  <a:pt x="193" y="48"/>
                </a:cubicBezTo>
                <a:cubicBezTo>
                  <a:pt x="193" y="48"/>
                  <a:pt x="193" y="48"/>
                  <a:pt x="193" y="48"/>
                </a:cubicBezTo>
                <a:cubicBezTo>
                  <a:pt x="194" y="48"/>
                  <a:pt x="195" y="46"/>
                  <a:pt x="196" y="46"/>
                </a:cubicBezTo>
                <a:cubicBezTo>
                  <a:pt x="197" y="47"/>
                  <a:pt x="198" y="48"/>
                  <a:pt x="199" y="49"/>
                </a:cubicBezTo>
                <a:cubicBezTo>
                  <a:pt x="200" y="50"/>
                  <a:pt x="199" y="51"/>
                  <a:pt x="199" y="52"/>
                </a:cubicBezTo>
                <a:cubicBezTo>
                  <a:pt x="197" y="54"/>
                  <a:pt x="196" y="56"/>
                  <a:pt x="194" y="58"/>
                </a:cubicBezTo>
                <a:cubicBezTo>
                  <a:pt x="194" y="58"/>
                  <a:pt x="194" y="59"/>
                  <a:pt x="194" y="59"/>
                </a:cubicBezTo>
                <a:cubicBezTo>
                  <a:pt x="195" y="59"/>
                  <a:pt x="195" y="58"/>
                  <a:pt x="195" y="58"/>
                </a:cubicBezTo>
                <a:cubicBezTo>
                  <a:pt x="196" y="56"/>
                  <a:pt x="198" y="56"/>
                  <a:pt x="199" y="58"/>
                </a:cubicBezTo>
                <a:cubicBezTo>
                  <a:pt x="202" y="61"/>
                  <a:pt x="201" y="61"/>
                  <a:pt x="199" y="63"/>
                </a:cubicBezTo>
                <a:cubicBezTo>
                  <a:pt x="198" y="65"/>
                  <a:pt x="197" y="67"/>
                  <a:pt x="195" y="68"/>
                </a:cubicBezTo>
                <a:cubicBezTo>
                  <a:pt x="198" y="69"/>
                  <a:pt x="198" y="71"/>
                  <a:pt x="199" y="72"/>
                </a:cubicBezTo>
                <a:cubicBezTo>
                  <a:pt x="199" y="72"/>
                  <a:pt x="199" y="73"/>
                  <a:pt x="199" y="74"/>
                </a:cubicBezTo>
                <a:cubicBezTo>
                  <a:pt x="197" y="77"/>
                  <a:pt x="195" y="80"/>
                  <a:pt x="194" y="83"/>
                </a:cubicBezTo>
                <a:cubicBezTo>
                  <a:pt x="193" y="83"/>
                  <a:pt x="193" y="84"/>
                  <a:pt x="193" y="85"/>
                </a:cubicBezTo>
                <a:cubicBezTo>
                  <a:pt x="193" y="86"/>
                  <a:pt x="193" y="87"/>
                  <a:pt x="192" y="88"/>
                </a:cubicBezTo>
                <a:cubicBezTo>
                  <a:pt x="191" y="88"/>
                  <a:pt x="191" y="89"/>
                  <a:pt x="191" y="89"/>
                </a:cubicBezTo>
                <a:cubicBezTo>
                  <a:pt x="191" y="90"/>
                  <a:pt x="192" y="90"/>
                  <a:pt x="192" y="90"/>
                </a:cubicBezTo>
                <a:cubicBezTo>
                  <a:pt x="194" y="91"/>
                  <a:pt x="195" y="93"/>
                  <a:pt x="194" y="95"/>
                </a:cubicBezTo>
                <a:cubicBezTo>
                  <a:pt x="193" y="97"/>
                  <a:pt x="192" y="99"/>
                  <a:pt x="191" y="101"/>
                </a:cubicBezTo>
                <a:cubicBezTo>
                  <a:pt x="192" y="101"/>
                  <a:pt x="193" y="101"/>
                  <a:pt x="194" y="100"/>
                </a:cubicBezTo>
                <a:cubicBezTo>
                  <a:pt x="195" y="99"/>
                  <a:pt x="196" y="100"/>
                  <a:pt x="197" y="100"/>
                </a:cubicBezTo>
                <a:cubicBezTo>
                  <a:pt x="198" y="100"/>
                  <a:pt x="199" y="101"/>
                  <a:pt x="199" y="102"/>
                </a:cubicBezTo>
                <a:cubicBezTo>
                  <a:pt x="200" y="104"/>
                  <a:pt x="199" y="106"/>
                  <a:pt x="198" y="107"/>
                </a:cubicBezTo>
                <a:cubicBezTo>
                  <a:pt x="200" y="108"/>
                  <a:pt x="201" y="109"/>
                  <a:pt x="200" y="111"/>
                </a:cubicBezTo>
                <a:cubicBezTo>
                  <a:pt x="200" y="113"/>
                  <a:pt x="199" y="114"/>
                  <a:pt x="197" y="116"/>
                </a:cubicBezTo>
                <a:cubicBezTo>
                  <a:pt x="198" y="116"/>
                  <a:pt x="199" y="117"/>
                  <a:pt x="200" y="117"/>
                </a:cubicBezTo>
                <a:cubicBezTo>
                  <a:pt x="202" y="118"/>
                  <a:pt x="202" y="120"/>
                  <a:pt x="201" y="122"/>
                </a:cubicBezTo>
                <a:cubicBezTo>
                  <a:pt x="199" y="124"/>
                  <a:pt x="198" y="126"/>
                  <a:pt x="196" y="128"/>
                </a:cubicBezTo>
                <a:cubicBezTo>
                  <a:pt x="198" y="129"/>
                  <a:pt x="201" y="129"/>
                  <a:pt x="200" y="131"/>
                </a:cubicBezTo>
                <a:cubicBezTo>
                  <a:pt x="200" y="133"/>
                  <a:pt x="199" y="135"/>
                  <a:pt x="198" y="137"/>
                </a:cubicBezTo>
                <a:cubicBezTo>
                  <a:pt x="198" y="137"/>
                  <a:pt x="198" y="137"/>
                  <a:pt x="198" y="137"/>
                </a:cubicBezTo>
                <a:cubicBezTo>
                  <a:pt x="199" y="137"/>
                  <a:pt x="200" y="137"/>
                  <a:pt x="200" y="138"/>
                </a:cubicBezTo>
                <a:cubicBezTo>
                  <a:pt x="201" y="140"/>
                  <a:pt x="201" y="141"/>
                  <a:pt x="200" y="143"/>
                </a:cubicBezTo>
                <a:cubicBezTo>
                  <a:pt x="200" y="144"/>
                  <a:pt x="199" y="144"/>
                  <a:pt x="199" y="145"/>
                </a:cubicBezTo>
                <a:cubicBezTo>
                  <a:pt x="198" y="146"/>
                  <a:pt x="198" y="146"/>
                  <a:pt x="199" y="146"/>
                </a:cubicBezTo>
                <a:cubicBezTo>
                  <a:pt x="201" y="149"/>
                  <a:pt x="199" y="152"/>
                  <a:pt x="197" y="154"/>
                </a:cubicBezTo>
                <a:cubicBezTo>
                  <a:pt x="197" y="154"/>
                  <a:pt x="197" y="154"/>
                  <a:pt x="197" y="154"/>
                </a:cubicBezTo>
                <a:cubicBezTo>
                  <a:pt x="198" y="156"/>
                  <a:pt x="198" y="159"/>
                  <a:pt x="199" y="161"/>
                </a:cubicBezTo>
                <a:cubicBezTo>
                  <a:pt x="199" y="162"/>
                  <a:pt x="198" y="163"/>
                  <a:pt x="197" y="164"/>
                </a:cubicBezTo>
                <a:cubicBezTo>
                  <a:pt x="195" y="166"/>
                  <a:pt x="193" y="169"/>
                  <a:pt x="190" y="171"/>
                </a:cubicBezTo>
                <a:cubicBezTo>
                  <a:pt x="188" y="173"/>
                  <a:pt x="186" y="175"/>
                  <a:pt x="184" y="176"/>
                </a:cubicBezTo>
                <a:cubicBezTo>
                  <a:pt x="183" y="177"/>
                  <a:pt x="183" y="177"/>
                  <a:pt x="183" y="177"/>
                </a:cubicBezTo>
                <a:cubicBezTo>
                  <a:pt x="181" y="176"/>
                  <a:pt x="181" y="177"/>
                  <a:pt x="180" y="178"/>
                </a:cubicBezTo>
                <a:cubicBezTo>
                  <a:pt x="179" y="178"/>
                  <a:pt x="178" y="179"/>
                  <a:pt x="177" y="178"/>
                </a:cubicBezTo>
                <a:cubicBezTo>
                  <a:pt x="176" y="177"/>
                  <a:pt x="175" y="176"/>
                  <a:pt x="174" y="176"/>
                </a:cubicBezTo>
                <a:cubicBezTo>
                  <a:pt x="173" y="177"/>
                  <a:pt x="172" y="178"/>
                  <a:pt x="171" y="179"/>
                </a:cubicBezTo>
                <a:cubicBezTo>
                  <a:pt x="170" y="181"/>
                  <a:pt x="169" y="181"/>
                  <a:pt x="167" y="180"/>
                </a:cubicBezTo>
                <a:cubicBezTo>
                  <a:pt x="166" y="179"/>
                  <a:pt x="165" y="178"/>
                  <a:pt x="165" y="176"/>
                </a:cubicBezTo>
                <a:cubicBezTo>
                  <a:pt x="164" y="176"/>
                  <a:pt x="163" y="177"/>
                  <a:pt x="162" y="177"/>
                </a:cubicBezTo>
                <a:cubicBezTo>
                  <a:pt x="161" y="177"/>
                  <a:pt x="160" y="176"/>
                  <a:pt x="159" y="176"/>
                </a:cubicBezTo>
                <a:cubicBezTo>
                  <a:pt x="158" y="175"/>
                  <a:pt x="158" y="175"/>
                  <a:pt x="157" y="176"/>
                </a:cubicBezTo>
                <a:cubicBezTo>
                  <a:pt x="155" y="176"/>
                  <a:pt x="154" y="176"/>
                  <a:pt x="153" y="175"/>
                </a:cubicBezTo>
                <a:cubicBezTo>
                  <a:pt x="153" y="175"/>
                  <a:pt x="152" y="174"/>
                  <a:pt x="152" y="175"/>
                </a:cubicBezTo>
                <a:cubicBezTo>
                  <a:pt x="150" y="175"/>
                  <a:pt x="149" y="175"/>
                  <a:pt x="148" y="174"/>
                </a:cubicBezTo>
                <a:cubicBezTo>
                  <a:pt x="147" y="174"/>
                  <a:pt x="146" y="174"/>
                  <a:pt x="146" y="174"/>
                </a:cubicBezTo>
                <a:cubicBezTo>
                  <a:pt x="144" y="176"/>
                  <a:pt x="143" y="177"/>
                  <a:pt x="140" y="175"/>
                </a:cubicBezTo>
                <a:cubicBezTo>
                  <a:pt x="140" y="175"/>
                  <a:pt x="139" y="175"/>
                  <a:pt x="138" y="175"/>
                </a:cubicBezTo>
                <a:cubicBezTo>
                  <a:pt x="137" y="175"/>
                  <a:pt x="137" y="175"/>
                  <a:pt x="136" y="175"/>
                </a:cubicBezTo>
                <a:cubicBezTo>
                  <a:pt x="135" y="177"/>
                  <a:pt x="134" y="177"/>
                  <a:pt x="132" y="176"/>
                </a:cubicBezTo>
                <a:cubicBezTo>
                  <a:pt x="132" y="176"/>
                  <a:pt x="131" y="176"/>
                  <a:pt x="130" y="176"/>
                </a:cubicBezTo>
                <a:cubicBezTo>
                  <a:pt x="128" y="178"/>
                  <a:pt x="128" y="178"/>
                  <a:pt x="126" y="177"/>
                </a:cubicBezTo>
                <a:close/>
                <a:moveTo>
                  <a:pt x="48" y="157"/>
                </a:moveTo>
                <a:cubicBezTo>
                  <a:pt x="48" y="157"/>
                  <a:pt x="48" y="157"/>
                  <a:pt x="47" y="156"/>
                </a:cubicBezTo>
                <a:cubicBezTo>
                  <a:pt x="45" y="159"/>
                  <a:pt x="43" y="161"/>
                  <a:pt x="41" y="163"/>
                </a:cubicBezTo>
                <a:cubicBezTo>
                  <a:pt x="41" y="163"/>
                  <a:pt x="42" y="163"/>
                  <a:pt x="42" y="163"/>
                </a:cubicBezTo>
                <a:cubicBezTo>
                  <a:pt x="44" y="161"/>
                  <a:pt x="45" y="160"/>
                  <a:pt x="47" y="158"/>
                </a:cubicBezTo>
                <a:cubicBezTo>
                  <a:pt x="48" y="158"/>
                  <a:pt x="48" y="157"/>
                  <a:pt x="48" y="157"/>
                </a:cubicBezTo>
                <a:close/>
                <a:moveTo>
                  <a:pt x="21" y="127"/>
                </a:moveTo>
                <a:cubicBezTo>
                  <a:pt x="21" y="127"/>
                  <a:pt x="21" y="127"/>
                  <a:pt x="21" y="128"/>
                </a:cubicBezTo>
                <a:cubicBezTo>
                  <a:pt x="23" y="126"/>
                  <a:pt x="24" y="125"/>
                  <a:pt x="26" y="124"/>
                </a:cubicBezTo>
                <a:cubicBezTo>
                  <a:pt x="26" y="123"/>
                  <a:pt x="26" y="123"/>
                  <a:pt x="26" y="121"/>
                </a:cubicBezTo>
                <a:cubicBezTo>
                  <a:pt x="24" y="123"/>
                  <a:pt x="23" y="125"/>
                  <a:pt x="21" y="127"/>
                </a:cubicBezTo>
                <a:close/>
                <a:moveTo>
                  <a:pt x="69" y="24"/>
                </a:moveTo>
                <a:cubicBezTo>
                  <a:pt x="67" y="25"/>
                  <a:pt x="68" y="27"/>
                  <a:pt x="68" y="28"/>
                </a:cubicBezTo>
                <a:cubicBezTo>
                  <a:pt x="69" y="27"/>
                  <a:pt x="70" y="26"/>
                  <a:pt x="69" y="24"/>
                </a:cubicBezTo>
                <a:close/>
              </a:path>
            </a:pathLst>
          </a:cu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txBody>
          <a:bodyPr lIns="180000" tIns="108000" rIns="180000" bIns="108000" anchor="ctr"/>
          <a:lstStyle>
            <a:lvl1pPr marL="342900" indent="-34290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171450" indent="-17145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defTabSz="12176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defTabSz="12176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defTabSz="12176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defTabSz="12176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marL="0" indent="0" algn="ctr" defTabSz="619323">
              <a:defRPr/>
            </a:pPr>
            <a:r>
              <a:rPr lang="en-US" sz="1600" b="1" dirty="0">
                <a:latin typeface="Calibri"/>
              </a:rPr>
              <a:t>R</a:t>
            </a:r>
            <a:r>
              <a:rPr lang="en-US" sz="1600" b="1" dirty="0">
                <a:solidFill>
                  <a:schemeClr val="tx1"/>
                </a:solidFill>
                <a:latin typeface="Calibri"/>
              </a:rPr>
              <a:t>aised motorway barriers</a:t>
            </a:r>
            <a:endParaRPr lang="it-IT" sz="1600" b="1" dirty="0">
              <a:solidFill>
                <a:schemeClr val="accent1"/>
              </a:solidFill>
              <a:latin typeface="+mn-lt"/>
            </a:endParaRPr>
          </a:p>
        </p:txBody>
      </p:sp>
      <p:sp>
        <p:nvSpPr>
          <p:cNvPr id="254" name="Oval 253">
            <a:extLst>
              <a:ext uri="{FF2B5EF4-FFF2-40B4-BE49-F238E27FC236}">
                <a16:creationId xmlns:a16="http://schemas.microsoft.com/office/drawing/2014/main" id="{AA920C2A-00C6-B911-11A1-EE743A00715C}"/>
              </a:ext>
            </a:extLst>
          </p:cNvPr>
          <p:cNvSpPr/>
          <p:nvPr/>
        </p:nvSpPr>
        <p:spPr>
          <a:xfrm>
            <a:off x="4138731" y="1454573"/>
            <a:ext cx="834024" cy="835138"/>
          </a:xfrm>
          <a:custGeom>
            <a:avLst/>
            <a:gdLst>
              <a:gd name="connsiteX0" fmla="*/ 0 w 834024"/>
              <a:gd name="connsiteY0" fmla="*/ 417569 h 835138"/>
              <a:gd name="connsiteX1" fmla="*/ 417012 w 834024"/>
              <a:gd name="connsiteY1" fmla="*/ 0 h 835138"/>
              <a:gd name="connsiteX2" fmla="*/ 834024 w 834024"/>
              <a:gd name="connsiteY2" fmla="*/ 417569 h 835138"/>
              <a:gd name="connsiteX3" fmla="*/ 417012 w 834024"/>
              <a:gd name="connsiteY3" fmla="*/ 835138 h 835138"/>
              <a:gd name="connsiteX4" fmla="*/ 0 w 834024"/>
              <a:gd name="connsiteY4" fmla="*/ 417569 h 8351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34024" h="835138" fill="none" extrusionOk="0">
                <a:moveTo>
                  <a:pt x="0" y="417569"/>
                </a:moveTo>
                <a:cubicBezTo>
                  <a:pt x="41194" y="181675"/>
                  <a:pt x="197760" y="6060"/>
                  <a:pt x="417012" y="0"/>
                </a:cubicBezTo>
                <a:cubicBezTo>
                  <a:pt x="619755" y="-7603"/>
                  <a:pt x="870434" y="195172"/>
                  <a:pt x="834024" y="417569"/>
                </a:cubicBezTo>
                <a:cubicBezTo>
                  <a:pt x="869456" y="644643"/>
                  <a:pt x="627025" y="856677"/>
                  <a:pt x="417012" y="835138"/>
                </a:cubicBezTo>
                <a:cubicBezTo>
                  <a:pt x="196950" y="866636"/>
                  <a:pt x="455" y="652829"/>
                  <a:pt x="0" y="417569"/>
                </a:cubicBezTo>
                <a:close/>
              </a:path>
              <a:path w="834024" h="835138" stroke="0" extrusionOk="0">
                <a:moveTo>
                  <a:pt x="0" y="417569"/>
                </a:moveTo>
                <a:cubicBezTo>
                  <a:pt x="6850" y="180821"/>
                  <a:pt x="180853" y="5090"/>
                  <a:pt x="417012" y="0"/>
                </a:cubicBezTo>
                <a:cubicBezTo>
                  <a:pt x="641763" y="-27336"/>
                  <a:pt x="816204" y="209134"/>
                  <a:pt x="834024" y="417569"/>
                </a:cubicBezTo>
                <a:cubicBezTo>
                  <a:pt x="840385" y="662958"/>
                  <a:pt x="648109" y="810261"/>
                  <a:pt x="417012" y="835138"/>
                </a:cubicBezTo>
                <a:cubicBezTo>
                  <a:pt x="183390" y="861832"/>
                  <a:pt x="-31527" y="639851"/>
                  <a:pt x="0" y="417569"/>
                </a:cubicBezTo>
                <a:close/>
              </a:path>
            </a:pathLst>
          </a:custGeom>
          <a:solidFill>
            <a:schemeClr val="bg1"/>
          </a:solidFill>
          <a:ln w="19050">
            <a:solidFill>
              <a:srgbClr val="0076A8"/>
            </a:solidFill>
            <a:extLst>
              <a:ext uri="{C807C97D-BFC1-408E-A445-0C87EB9F89A2}">
                <ask:lineSketchStyleProps xmlns:ask="http://schemas.microsoft.com/office/drawing/2018/sketchyshapes" sd="2091018771">
                  <a:prstGeom prst="ellipse">
                    <a:avLst/>
                  </a:prstGeom>
                  <ask:type>
                    <ask:lineSketchCurved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dirty="0"/>
          </a:p>
        </p:txBody>
      </p:sp>
      <p:sp>
        <p:nvSpPr>
          <p:cNvPr id="256" name="Freeform 150">
            <a:extLst>
              <a:ext uri="{FF2B5EF4-FFF2-40B4-BE49-F238E27FC236}">
                <a16:creationId xmlns:a16="http://schemas.microsoft.com/office/drawing/2014/main" id="{892DF998-BC5B-C5AC-66C6-974149C9DFC7}"/>
              </a:ext>
            </a:extLst>
          </p:cNvPr>
          <p:cNvSpPr>
            <a:spLocks/>
          </p:cNvSpPr>
          <p:nvPr/>
        </p:nvSpPr>
        <p:spPr bwMode="auto">
          <a:xfrm>
            <a:off x="4747657" y="1709069"/>
            <a:ext cx="182450" cy="175895"/>
          </a:xfrm>
          <a:custGeom>
            <a:avLst/>
            <a:gdLst>
              <a:gd name="T0" fmla="*/ 100 w 167"/>
              <a:gd name="T1" fmla="*/ 43 h 161"/>
              <a:gd name="T2" fmla="*/ 99 w 167"/>
              <a:gd name="T3" fmla="*/ 51 h 161"/>
              <a:gd name="T4" fmla="*/ 122 w 167"/>
              <a:gd name="T5" fmla="*/ 77 h 161"/>
              <a:gd name="T6" fmla="*/ 158 w 167"/>
              <a:gd name="T7" fmla="*/ 79 h 161"/>
              <a:gd name="T8" fmla="*/ 166 w 167"/>
              <a:gd name="T9" fmla="*/ 88 h 161"/>
              <a:gd name="T10" fmla="*/ 160 w 167"/>
              <a:gd name="T11" fmla="*/ 96 h 161"/>
              <a:gd name="T12" fmla="*/ 147 w 167"/>
              <a:gd name="T13" fmla="*/ 97 h 161"/>
              <a:gd name="T14" fmla="*/ 113 w 167"/>
              <a:gd name="T15" fmla="*/ 97 h 161"/>
              <a:gd name="T16" fmla="*/ 96 w 167"/>
              <a:gd name="T17" fmla="*/ 114 h 161"/>
              <a:gd name="T18" fmla="*/ 98 w 167"/>
              <a:gd name="T19" fmla="*/ 151 h 161"/>
              <a:gd name="T20" fmla="*/ 91 w 167"/>
              <a:gd name="T21" fmla="*/ 160 h 161"/>
              <a:gd name="T22" fmla="*/ 80 w 167"/>
              <a:gd name="T23" fmla="*/ 152 h 161"/>
              <a:gd name="T24" fmla="*/ 78 w 167"/>
              <a:gd name="T25" fmla="*/ 109 h 161"/>
              <a:gd name="T26" fmla="*/ 65 w 167"/>
              <a:gd name="T27" fmla="*/ 96 h 161"/>
              <a:gd name="T28" fmla="*/ 25 w 167"/>
              <a:gd name="T29" fmla="*/ 99 h 161"/>
              <a:gd name="T30" fmla="*/ 10 w 167"/>
              <a:gd name="T31" fmla="*/ 99 h 161"/>
              <a:gd name="T32" fmla="*/ 1 w 167"/>
              <a:gd name="T33" fmla="*/ 85 h 161"/>
              <a:gd name="T34" fmla="*/ 12 w 167"/>
              <a:gd name="T35" fmla="*/ 75 h 161"/>
              <a:gd name="T36" fmla="*/ 68 w 167"/>
              <a:gd name="T37" fmla="*/ 74 h 161"/>
              <a:gd name="T38" fmla="*/ 80 w 167"/>
              <a:gd name="T39" fmla="*/ 64 h 161"/>
              <a:gd name="T40" fmla="*/ 79 w 167"/>
              <a:gd name="T41" fmla="*/ 18 h 161"/>
              <a:gd name="T42" fmla="*/ 79 w 167"/>
              <a:gd name="T43" fmla="*/ 7 h 161"/>
              <a:gd name="T44" fmla="*/ 86 w 167"/>
              <a:gd name="T45" fmla="*/ 0 h 161"/>
              <a:gd name="T46" fmla="*/ 97 w 167"/>
              <a:gd name="T47" fmla="*/ 6 h 161"/>
              <a:gd name="T48" fmla="*/ 100 w 167"/>
              <a:gd name="T49" fmla="*/ 36 h 161"/>
              <a:gd name="T50" fmla="*/ 100 w 167"/>
              <a:gd name="T51" fmla="*/ 43 h 161"/>
              <a:gd name="T52" fmla="*/ 100 w 167"/>
              <a:gd name="T53" fmla="*/ 43 h 16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</a:cxnLst>
            <a:rect l="0" t="0" r="r" b="b"/>
            <a:pathLst>
              <a:path w="167" h="161">
                <a:moveTo>
                  <a:pt x="100" y="43"/>
                </a:moveTo>
                <a:cubicBezTo>
                  <a:pt x="99" y="46"/>
                  <a:pt x="99" y="48"/>
                  <a:pt x="99" y="51"/>
                </a:cubicBezTo>
                <a:cubicBezTo>
                  <a:pt x="96" y="79"/>
                  <a:pt x="99" y="74"/>
                  <a:pt x="122" y="77"/>
                </a:cubicBezTo>
                <a:cubicBezTo>
                  <a:pt x="131" y="77"/>
                  <a:pt x="150" y="77"/>
                  <a:pt x="158" y="79"/>
                </a:cubicBezTo>
                <a:cubicBezTo>
                  <a:pt x="162" y="80"/>
                  <a:pt x="165" y="84"/>
                  <a:pt x="166" y="88"/>
                </a:cubicBezTo>
                <a:cubicBezTo>
                  <a:pt x="167" y="90"/>
                  <a:pt x="163" y="94"/>
                  <a:pt x="160" y="96"/>
                </a:cubicBezTo>
                <a:cubicBezTo>
                  <a:pt x="156" y="97"/>
                  <a:pt x="151" y="97"/>
                  <a:pt x="147" y="97"/>
                </a:cubicBezTo>
                <a:cubicBezTo>
                  <a:pt x="138" y="97"/>
                  <a:pt x="121" y="97"/>
                  <a:pt x="113" y="97"/>
                </a:cubicBezTo>
                <a:cubicBezTo>
                  <a:pt x="96" y="96"/>
                  <a:pt x="96" y="97"/>
                  <a:pt x="96" y="114"/>
                </a:cubicBezTo>
                <a:cubicBezTo>
                  <a:pt x="97" y="123"/>
                  <a:pt x="97" y="142"/>
                  <a:pt x="98" y="151"/>
                </a:cubicBezTo>
                <a:cubicBezTo>
                  <a:pt x="98" y="156"/>
                  <a:pt x="96" y="160"/>
                  <a:pt x="91" y="160"/>
                </a:cubicBezTo>
                <a:cubicBezTo>
                  <a:pt x="84" y="161"/>
                  <a:pt x="81" y="156"/>
                  <a:pt x="80" y="152"/>
                </a:cubicBezTo>
                <a:cubicBezTo>
                  <a:pt x="79" y="141"/>
                  <a:pt x="79" y="120"/>
                  <a:pt x="78" y="109"/>
                </a:cubicBezTo>
                <a:cubicBezTo>
                  <a:pt x="77" y="95"/>
                  <a:pt x="79" y="95"/>
                  <a:pt x="65" y="96"/>
                </a:cubicBezTo>
                <a:cubicBezTo>
                  <a:pt x="51" y="97"/>
                  <a:pt x="38" y="98"/>
                  <a:pt x="25" y="99"/>
                </a:cubicBezTo>
                <a:cubicBezTo>
                  <a:pt x="20" y="99"/>
                  <a:pt x="15" y="100"/>
                  <a:pt x="10" y="99"/>
                </a:cubicBezTo>
                <a:cubicBezTo>
                  <a:pt x="3" y="98"/>
                  <a:pt x="0" y="93"/>
                  <a:pt x="1" y="85"/>
                </a:cubicBezTo>
                <a:cubicBezTo>
                  <a:pt x="1" y="78"/>
                  <a:pt x="5" y="75"/>
                  <a:pt x="12" y="75"/>
                </a:cubicBezTo>
                <a:cubicBezTo>
                  <a:pt x="31" y="75"/>
                  <a:pt x="48" y="74"/>
                  <a:pt x="68" y="74"/>
                </a:cubicBezTo>
                <a:cubicBezTo>
                  <a:pt x="75" y="74"/>
                  <a:pt x="80" y="72"/>
                  <a:pt x="80" y="64"/>
                </a:cubicBezTo>
                <a:cubicBezTo>
                  <a:pt x="79" y="49"/>
                  <a:pt x="79" y="33"/>
                  <a:pt x="79" y="18"/>
                </a:cubicBezTo>
                <a:cubicBezTo>
                  <a:pt x="79" y="14"/>
                  <a:pt x="78" y="10"/>
                  <a:pt x="79" y="7"/>
                </a:cubicBezTo>
                <a:cubicBezTo>
                  <a:pt x="80" y="4"/>
                  <a:pt x="84" y="0"/>
                  <a:pt x="86" y="0"/>
                </a:cubicBezTo>
                <a:cubicBezTo>
                  <a:pt x="89" y="0"/>
                  <a:pt x="97" y="3"/>
                  <a:pt x="97" y="6"/>
                </a:cubicBezTo>
                <a:cubicBezTo>
                  <a:pt x="99" y="15"/>
                  <a:pt x="99" y="26"/>
                  <a:pt x="100" y="36"/>
                </a:cubicBezTo>
                <a:cubicBezTo>
                  <a:pt x="100" y="38"/>
                  <a:pt x="100" y="41"/>
                  <a:pt x="100" y="43"/>
                </a:cubicBezTo>
                <a:cubicBezTo>
                  <a:pt x="100" y="43"/>
                  <a:pt x="100" y="43"/>
                  <a:pt x="100" y="43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57" name="TextBox 256">
            <a:extLst>
              <a:ext uri="{FF2B5EF4-FFF2-40B4-BE49-F238E27FC236}">
                <a16:creationId xmlns:a16="http://schemas.microsoft.com/office/drawing/2014/main" id="{BAB90B54-25F9-637F-37A0-8DFF82BB1EB1}"/>
              </a:ext>
            </a:extLst>
          </p:cNvPr>
          <p:cNvSpPr txBox="1"/>
          <p:nvPr/>
        </p:nvSpPr>
        <p:spPr>
          <a:xfrm>
            <a:off x="4262546" y="1936396"/>
            <a:ext cx="561652" cy="277484"/>
          </a:xfrm>
          <a:prstGeom prst="rect">
            <a:avLst/>
          </a:prstGeom>
          <a:noFill/>
        </p:spPr>
        <p:txBody>
          <a:bodyPr wrap="square" anchor="ctr">
            <a:noAutofit/>
          </a:bodyPr>
          <a:lstStyle/>
          <a:p>
            <a:pPr algn="ctr"/>
            <a:r>
              <a:rPr lang="it-IT" dirty="0">
                <a:solidFill>
                  <a:schemeClr val="tx1"/>
                </a:solidFill>
              </a:rPr>
              <a:t>Mln</a:t>
            </a:r>
          </a:p>
        </p:txBody>
      </p:sp>
      <p:cxnSp>
        <p:nvCxnSpPr>
          <p:cNvPr id="248" name="Straight Connector 247">
            <a:extLst>
              <a:ext uri="{FF2B5EF4-FFF2-40B4-BE49-F238E27FC236}">
                <a16:creationId xmlns:a16="http://schemas.microsoft.com/office/drawing/2014/main" id="{A06D223A-597C-8E31-5216-E270058CBAEA}"/>
              </a:ext>
            </a:extLst>
          </p:cNvPr>
          <p:cNvCxnSpPr>
            <a:cxnSpLocks/>
            <a:endCxn id="254" idx="4"/>
          </p:cNvCxnSpPr>
          <p:nvPr/>
        </p:nvCxnSpPr>
        <p:spPr>
          <a:xfrm flipV="1">
            <a:off x="4555743" y="2289711"/>
            <a:ext cx="0" cy="172949"/>
          </a:xfrm>
          <a:prstGeom prst="line">
            <a:avLst/>
          </a:prstGeom>
          <a:ln>
            <a:solidFill>
              <a:schemeClr val="tx2"/>
            </a:solidFill>
            <a:prstDash val="sysDot"/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64" name="Group 263">
            <a:extLst>
              <a:ext uri="{FF2B5EF4-FFF2-40B4-BE49-F238E27FC236}">
                <a16:creationId xmlns:a16="http://schemas.microsoft.com/office/drawing/2014/main" id="{499F919D-AD62-A5C5-0DA3-A9FB3A2BE4C5}"/>
              </a:ext>
            </a:extLst>
          </p:cNvPr>
          <p:cNvGrpSpPr/>
          <p:nvPr/>
        </p:nvGrpSpPr>
        <p:grpSpPr>
          <a:xfrm>
            <a:off x="4208206" y="1667453"/>
            <a:ext cx="527097" cy="259129"/>
            <a:chOff x="3071022" y="1626412"/>
            <a:chExt cx="637788" cy="313546"/>
          </a:xfrm>
        </p:grpSpPr>
        <p:sp>
          <p:nvSpPr>
            <p:cNvPr id="255" name="Freeform 149">
              <a:extLst>
                <a:ext uri="{FF2B5EF4-FFF2-40B4-BE49-F238E27FC236}">
                  <a16:creationId xmlns:a16="http://schemas.microsoft.com/office/drawing/2014/main" id="{7E95186A-DACD-72E2-13FA-98BFAC77295C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3223719" y="1626412"/>
              <a:ext cx="252067" cy="313546"/>
            </a:xfrm>
            <a:custGeom>
              <a:avLst/>
              <a:gdLst>
                <a:gd name="T0" fmla="*/ 73 w 123"/>
                <a:gd name="T1" fmla="*/ 78 h 153"/>
                <a:gd name="T2" fmla="*/ 84 w 123"/>
                <a:gd name="T3" fmla="*/ 81 h 153"/>
                <a:gd name="T4" fmla="*/ 85 w 123"/>
                <a:gd name="T5" fmla="*/ 96 h 153"/>
                <a:gd name="T6" fmla="*/ 79 w 123"/>
                <a:gd name="T7" fmla="*/ 121 h 153"/>
                <a:gd name="T8" fmla="*/ 78 w 123"/>
                <a:gd name="T9" fmla="*/ 124 h 153"/>
                <a:gd name="T10" fmla="*/ 85 w 123"/>
                <a:gd name="T11" fmla="*/ 150 h 153"/>
                <a:gd name="T12" fmla="*/ 90 w 123"/>
                <a:gd name="T13" fmla="*/ 153 h 153"/>
                <a:gd name="T14" fmla="*/ 95 w 123"/>
                <a:gd name="T15" fmla="*/ 149 h 153"/>
                <a:gd name="T16" fmla="*/ 96 w 123"/>
                <a:gd name="T17" fmla="*/ 143 h 153"/>
                <a:gd name="T18" fmla="*/ 97 w 123"/>
                <a:gd name="T19" fmla="*/ 140 h 153"/>
                <a:gd name="T20" fmla="*/ 104 w 123"/>
                <a:gd name="T21" fmla="*/ 109 h 153"/>
                <a:gd name="T22" fmla="*/ 120 w 123"/>
                <a:gd name="T23" fmla="*/ 32 h 153"/>
                <a:gd name="T24" fmla="*/ 121 w 123"/>
                <a:gd name="T25" fmla="*/ 15 h 153"/>
                <a:gd name="T26" fmla="*/ 110 w 123"/>
                <a:gd name="T27" fmla="*/ 4 h 153"/>
                <a:gd name="T28" fmla="*/ 103 w 123"/>
                <a:gd name="T29" fmla="*/ 11 h 153"/>
                <a:gd name="T30" fmla="*/ 101 w 123"/>
                <a:gd name="T31" fmla="*/ 15 h 153"/>
                <a:gd name="T32" fmla="*/ 101 w 123"/>
                <a:gd name="T33" fmla="*/ 17 h 153"/>
                <a:gd name="T34" fmla="*/ 100 w 123"/>
                <a:gd name="T35" fmla="*/ 19 h 153"/>
                <a:gd name="T36" fmla="*/ 98 w 123"/>
                <a:gd name="T37" fmla="*/ 31 h 153"/>
                <a:gd name="T38" fmla="*/ 90 w 123"/>
                <a:gd name="T39" fmla="*/ 54 h 153"/>
                <a:gd name="T40" fmla="*/ 47 w 123"/>
                <a:gd name="T41" fmla="*/ 60 h 153"/>
                <a:gd name="T42" fmla="*/ 34 w 123"/>
                <a:gd name="T43" fmla="*/ 61 h 153"/>
                <a:gd name="T44" fmla="*/ 30 w 123"/>
                <a:gd name="T45" fmla="*/ 61 h 153"/>
                <a:gd name="T46" fmla="*/ 33 w 123"/>
                <a:gd name="T47" fmla="*/ 58 h 153"/>
                <a:gd name="T48" fmla="*/ 43 w 123"/>
                <a:gd name="T49" fmla="*/ 46 h 153"/>
                <a:gd name="T50" fmla="*/ 60 w 123"/>
                <a:gd name="T51" fmla="*/ 24 h 153"/>
                <a:gd name="T52" fmla="*/ 65 w 123"/>
                <a:gd name="T53" fmla="*/ 7 h 153"/>
                <a:gd name="T54" fmla="*/ 61 w 123"/>
                <a:gd name="T55" fmla="*/ 3 h 153"/>
                <a:gd name="T56" fmla="*/ 45 w 123"/>
                <a:gd name="T57" fmla="*/ 9 h 153"/>
                <a:gd name="T58" fmla="*/ 35 w 123"/>
                <a:gd name="T59" fmla="*/ 22 h 153"/>
                <a:gd name="T60" fmla="*/ 6 w 123"/>
                <a:gd name="T61" fmla="*/ 57 h 153"/>
                <a:gd name="T62" fmla="*/ 6 w 123"/>
                <a:gd name="T63" fmla="*/ 83 h 153"/>
                <a:gd name="T64" fmla="*/ 17 w 123"/>
                <a:gd name="T65" fmla="*/ 89 h 153"/>
                <a:gd name="T66" fmla="*/ 28 w 123"/>
                <a:gd name="T67" fmla="*/ 87 h 153"/>
                <a:gd name="T68" fmla="*/ 33 w 123"/>
                <a:gd name="T69" fmla="*/ 85 h 153"/>
                <a:gd name="T70" fmla="*/ 39 w 123"/>
                <a:gd name="T71" fmla="*/ 83 h 153"/>
                <a:gd name="T72" fmla="*/ 46 w 123"/>
                <a:gd name="T73" fmla="*/ 82 h 153"/>
                <a:gd name="T74" fmla="*/ 68 w 123"/>
                <a:gd name="T75" fmla="*/ 78 h 153"/>
                <a:gd name="T76" fmla="*/ 73 w 123"/>
                <a:gd name="T77" fmla="*/ 78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23" h="153">
                  <a:moveTo>
                    <a:pt x="73" y="78"/>
                  </a:moveTo>
                  <a:cubicBezTo>
                    <a:pt x="79" y="78"/>
                    <a:pt x="82" y="79"/>
                    <a:pt x="84" y="81"/>
                  </a:cubicBezTo>
                  <a:cubicBezTo>
                    <a:pt x="86" y="84"/>
                    <a:pt x="86" y="89"/>
                    <a:pt x="85" y="96"/>
                  </a:cubicBezTo>
                  <a:cubicBezTo>
                    <a:pt x="83" y="104"/>
                    <a:pt x="81" y="113"/>
                    <a:pt x="79" y="121"/>
                  </a:cubicBezTo>
                  <a:cubicBezTo>
                    <a:pt x="78" y="124"/>
                    <a:pt x="78" y="124"/>
                    <a:pt x="78" y="124"/>
                  </a:cubicBezTo>
                  <a:cubicBezTo>
                    <a:pt x="76" y="133"/>
                    <a:pt x="78" y="142"/>
                    <a:pt x="85" y="150"/>
                  </a:cubicBezTo>
                  <a:cubicBezTo>
                    <a:pt x="86" y="152"/>
                    <a:pt x="88" y="153"/>
                    <a:pt x="90" y="153"/>
                  </a:cubicBezTo>
                  <a:cubicBezTo>
                    <a:pt x="92" y="153"/>
                    <a:pt x="94" y="151"/>
                    <a:pt x="95" y="149"/>
                  </a:cubicBezTo>
                  <a:cubicBezTo>
                    <a:pt x="96" y="147"/>
                    <a:pt x="96" y="145"/>
                    <a:pt x="96" y="143"/>
                  </a:cubicBezTo>
                  <a:cubicBezTo>
                    <a:pt x="96" y="142"/>
                    <a:pt x="97" y="141"/>
                    <a:pt x="97" y="140"/>
                  </a:cubicBezTo>
                  <a:cubicBezTo>
                    <a:pt x="99" y="129"/>
                    <a:pt x="101" y="119"/>
                    <a:pt x="104" y="109"/>
                  </a:cubicBezTo>
                  <a:cubicBezTo>
                    <a:pt x="109" y="84"/>
                    <a:pt x="115" y="58"/>
                    <a:pt x="120" y="32"/>
                  </a:cubicBezTo>
                  <a:cubicBezTo>
                    <a:pt x="122" y="27"/>
                    <a:pt x="123" y="20"/>
                    <a:pt x="121" y="15"/>
                  </a:cubicBezTo>
                  <a:cubicBezTo>
                    <a:pt x="119" y="10"/>
                    <a:pt x="114" y="4"/>
                    <a:pt x="110" y="4"/>
                  </a:cubicBezTo>
                  <a:cubicBezTo>
                    <a:pt x="106" y="3"/>
                    <a:pt x="104" y="6"/>
                    <a:pt x="103" y="11"/>
                  </a:cubicBezTo>
                  <a:cubicBezTo>
                    <a:pt x="102" y="12"/>
                    <a:pt x="102" y="14"/>
                    <a:pt x="101" y="15"/>
                  </a:cubicBezTo>
                  <a:cubicBezTo>
                    <a:pt x="101" y="16"/>
                    <a:pt x="101" y="16"/>
                    <a:pt x="101" y="17"/>
                  </a:cubicBezTo>
                  <a:cubicBezTo>
                    <a:pt x="101" y="18"/>
                    <a:pt x="101" y="19"/>
                    <a:pt x="100" y="19"/>
                  </a:cubicBezTo>
                  <a:cubicBezTo>
                    <a:pt x="99" y="23"/>
                    <a:pt x="99" y="27"/>
                    <a:pt x="98" y="31"/>
                  </a:cubicBezTo>
                  <a:cubicBezTo>
                    <a:pt x="97" y="41"/>
                    <a:pt x="95" y="51"/>
                    <a:pt x="90" y="54"/>
                  </a:cubicBezTo>
                  <a:cubicBezTo>
                    <a:pt x="82" y="59"/>
                    <a:pt x="63" y="60"/>
                    <a:pt x="47" y="60"/>
                  </a:cubicBezTo>
                  <a:cubicBezTo>
                    <a:pt x="42" y="61"/>
                    <a:pt x="38" y="61"/>
                    <a:pt x="34" y="61"/>
                  </a:cubicBezTo>
                  <a:cubicBezTo>
                    <a:pt x="30" y="61"/>
                    <a:pt x="30" y="61"/>
                    <a:pt x="30" y="61"/>
                  </a:cubicBezTo>
                  <a:cubicBezTo>
                    <a:pt x="33" y="58"/>
                    <a:pt x="33" y="58"/>
                    <a:pt x="33" y="58"/>
                  </a:cubicBezTo>
                  <a:cubicBezTo>
                    <a:pt x="36" y="54"/>
                    <a:pt x="39" y="50"/>
                    <a:pt x="43" y="46"/>
                  </a:cubicBezTo>
                  <a:cubicBezTo>
                    <a:pt x="50" y="38"/>
                    <a:pt x="57" y="29"/>
                    <a:pt x="60" y="24"/>
                  </a:cubicBezTo>
                  <a:cubicBezTo>
                    <a:pt x="63" y="20"/>
                    <a:pt x="66" y="12"/>
                    <a:pt x="65" y="7"/>
                  </a:cubicBezTo>
                  <a:cubicBezTo>
                    <a:pt x="64" y="5"/>
                    <a:pt x="63" y="4"/>
                    <a:pt x="61" y="3"/>
                  </a:cubicBezTo>
                  <a:cubicBezTo>
                    <a:pt x="55" y="0"/>
                    <a:pt x="50" y="3"/>
                    <a:pt x="45" y="9"/>
                  </a:cubicBezTo>
                  <a:cubicBezTo>
                    <a:pt x="35" y="22"/>
                    <a:pt x="35" y="22"/>
                    <a:pt x="35" y="22"/>
                  </a:cubicBezTo>
                  <a:cubicBezTo>
                    <a:pt x="25" y="33"/>
                    <a:pt x="16" y="45"/>
                    <a:pt x="6" y="57"/>
                  </a:cubicBezTo>
                  <a:cubicBezTo>
                    <a:pt x="0" y="64"/>
                    <a:pt x="0" y="73"/>
                    <a:pt x="6" y="83"/>
                  </a:cubicBezTo>
                  <a:cubicBezTo>
                    <a:pt x="9" y="87"/>
                    <a:pt x="12" y="89"/>
                    <a:pt x="17" y="89"/>
                  </a:cubicBezTo>
                  <a:cubicBezTo>
                    <a:pt x="21" y="89"/>
                    <a:pt x="24" y="88"/>
                    <a:pt x="28" y="87"/>
                  </a:cubicBezTo>
                  <a:cubicBezTo>
                    <a:pt x="29" y="86"/>
                    <a:pt x="31" y="86"/>
                    <a:pt x="33" y="85"/>
                  </a:cubicBezTo>
                  <a:cubicBezTo>
                    <a:pt x="35" y="84"/>
                    <a:pt x="37" y="84"/>
                    <a:pt x="39" y="83"/>
                  </a:cubicBezTo>
                  <a:cubicBezTo>
                    <a:pt x="41" y="83"/>
                    <a:pt x="43" y="82"/>
                    <a:pt x="46" y="82"/>
                  </a:cubicBezTo>
                  <a:cubicBezTo>
                    <a:pt x="53" y="80"/>
                    <a:pt x="60" y="79"/>
                    <a:pt x="68" y="78"/>
                  </a:cubicBezTo>
                  <a:cubicBezTo>
                    <a:pt x="70" y="78"/>
                    <a:pt x="71" y="78"/>
                    <a:pt x="73" y="78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62" name="Freeform 141">
              <a:extLst>
                <a:ext uri="{FF2B5EF4-FFF2-40B4-BE49-F238E27FC236}">
                  <a16:creationId xmlns:a16="http://schemas.microsoft.com/office/drawing/2014/main" id="{B16C0D9A-45A8-D22F-94A7-0423A327CB83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3471691" y="1626412"/>
              <a:ext cx="237119" cy="313546"/>
            </a:xfrm>
            <a:custGeom>
              <a:avLst/>
              <a:gdLst>
                <a:gd name="T0" fmla="*/ 0 w 121"/>
                <a:gd name="T1" fmla="*/ 88 h 160"/>
                <a:gd name="T2" fmla="*/ 25 w 121"/>
                <a:gd name="T3" fmla="*/ 149 h 160"/>
                <a:gd name="T4" fmla="*/ 51 w 121"/>
                <a:gd name="T5" fmla="*/ 160 h 160"/>
                <a:gd name="T6" fmla="*/ 74 w 121"/>
                <a:gd name="T7" fmla="*/ 152 h 160"/>
                <a:gd name="T8" fmla="*/ 113 w 121"/>
                <a:gd name="T9" fmla="*/ 60 h 160"/>
                <a:gd name="T10" fmla="*/ 71 w 121"/>
                <a:gd name="T11" fmla="*/ 8 h 160"/>
                <a:gd name="T12" fmla="*/ 21 w 121"/>
                <a:gd name="T13" fmla="*/ 20 h 160"/>
                <a:gd name="T14" fmla="*/ 10 w 121"/>
                <a:gd name="T15" fmla="*/ 40 h 160"/>
                <a:gd name="T16" fmla="*/ 3 w 121"/>
                <a:gd name="T17" fmla="*/ 74 h 160"/>
                <a:gd name="T18" fmla="*/ 0 w 121"/>
                <a:gd name="T19" fmla="*/ 88 h 160"/>
                <a:gd name="T20" fmla="*/ 33 w 121"/>
                <a:gd name="T21" fmla="*/ 56 h 160"/>
                <a:gd name="T22" fmla="*/ 45 w 121"/>
                <a:gd name="T23" fmla="*/ 31 h 160"/>
                <a:gd name="T24" fmla="*/ 67 w 121"/>
                <a:gd name="T25" fmla="*/ 21 h 160"/>
                <a:gd name="T26" fmla="*/ 88 w 121"/>
                <a:gd name="T27" fmla="*/ 41 h 160"/>
                <a:gd name="T28" fmla="*/ 58 w 121"/>
                <a:gd name="T29" fmla="*/ 137 h 160"/>
                <a:gd name="T30" fmla="*/ 29 w 121"/>
                <a:gd name="T31" fmla="*/ 123 h 160"/>
                <a:gd name="T32" fmla="*/ 27 w 121"/>
                <a:gd name="T33" fmla="*/ 96 h 160"/>
                <a:gd name="T34" fmla="*/ 33 w 121"/>
                <a:gd name="T35" fmla="*/ 56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21" h="160">
                  <a:moveTo>
                    <a:pt x="0" y="88"/>
                  </a:moveTo>
                  <a:cubicBezTo>
                    <a:pt x="1" y="110"/>
                    <a:pt x="5" y="132"/>
                    <a:pt x="25" y="149"/>
                  </a:cubicBezTo>
                  <a:cubicBezTo>
                    <a:pt x="33" y="156"/>
                    <a:pt x="43" y="160"/>
                    <a:pt x="51" y="160"/>
                  </a:cubicBezTo>
                  <a:cubicBezTo>
                    <a:pt x="59" y="160"/>
                    <a:pt x="67" y="157"/>
                    <a:pt x="74" y="152"/>
                  </a:cubicBezTo>
                  <a:cubicBezTo>
                    <a:pt x="108" y="125"/>
                    <a:pt x="121" y="96"/>
                    <a:pt x="113" y="60"/>
                  </a:cubicBezTo>
                  <a:cubicBezTo>
                    <a:pt x="108" y="34"/>
                    <a:pt x="95" y="18"/>
                    <a:pt x="71" y="8"/>
                  </a:cubicBezTo>
                  <a:cubicBezTo>
                    <a:pt x="52" y="0"/>
                    <a:pt x="34" y="4"/>
                    <a:pt x="21" y="20"/>
                  </a:cubicBezTo>
                  <a:cubicBezTo>
                    <a:pt x="18" y="24"/>
                    <a:pt x="13" y="32"/>
                    <a:pt x="10" y="40"/>
                  </a:cubicBezTo>
                  <a:cubicBezTo>
                    <a:pt x="7" y="51"/>
                    <a:pt x="5" y="63"/>
                    <a:pt x="3" y="74"/>
                  </a:cubicBezTo>
                  <a:cubicBezTo>
                    <a:pt x="2" y="78"/>
                    <a:pt x="1" y="83"/>
                    <a:pt x="0" y="88"/>
                  </a:cubicBezTo>
                  <a:close/>
                  <a:moveTo>
                    <a:pt x="33" y="56"/>
                  </a:moveTo>
                  <a:cubicBezTo>
                    <a:pt x="35" y="47"/>
                    <a:pt x="39" y="38"/>
                    <a:pt x="45" y="31"/>
                  </a:cubicBezTo>
                  <a:cubicBezTo>
                    <a:pt x="50" y="24"/>
                    <a:pt x="58" y="17"/>
                    <a:pt x="67" y="21"/>
                  </a:cubicBezTo>
                  <a:cubicBezTo>
                    <a:pt x="77" y="24"/>
                    <a:pt x="86" y="30"/>
                    <a:pt x="88" y="41"/>
                  </a:cubicBezTo>
                  <a:cubicBezTo>
                    <a:pt x="99" y="82"/>
                    <a:pt x="90" y="121"/>
                    <a:pt x="58" y="137"/>
                  </a:cubicBezTo>
                  <a:cubicBezTo>
                    <a:pt x="44" y="146"/>
                    <a:pt x="33" y="134"/>
                    <a:pt x="29" y="123"/>
                  </a:cubicBezTo>
                  <a:cubicBezTo>
                    <a:pt x="27" y="115"/>
                    <a:pt x="27" y="107"/>
                    <a:pt x="27" y="96"/>
                  </a:cubicBezTo>
                  <a:cubicBezTo>
                    <a:pt x="28" y="84"/>
                    <a:pt x="29" y="70"/>
                    <a:pt x="33" y="56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63" name="Freeform 153">
              <a:extLst>
                <a:ext uri="{FF2B5EF4-FFF2-40B4-BE49-F238E27FC236}">
                  <a16:creationId xmlns:a16="http://schemas.microsoft.com/office/drawing/2014/main" id="{D345A6DE-49CC-30E7-3386-8033A0BAAFF8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3071022" y="1626412"/>
              <a:ext cx="149031" cy="313546"/>
            </a:xfrm>
            <a:custGeom>
              <a:avLst/>
              <a:gdLst>
                <a:gd name="T0" fmla="*/ 47 w 77"/>
                <a:gd name="T1" fmla="*/ 34 h 162"/>
                <a:gd name="T2" fmla="*/ 47 w 77"/>
                <a:gd name="T3" fmla="*/ 37 h 162"/>
                <a:gd name="T4" fmla="*/ 47 w 77"/>
                <a:gd name="T5" fmla="*/ 46 h 162"/>
                <a:gd name="T6" fmla="*/ 47 w 77"/>
                <a:gd name="T7" fmla="*/ 63 h 162"/>
                <a:gd name="T8" fmla="*/ 43 w 77"/>
                <a:gd name="T9" fmla="*/ 87 h 162"/>
                <a:gd name="T10" fmla="*/ 38 w 77"/>
                <a:gd name="T11" fmla="*/ 132 h 162"/>
                <a:gd name="T12" fmla="*/ 43 w 77"/>
                <a:gd name="T13" fmla="*/ 155 h 162"/>
                <a:gd name="T14" fmla="*/ 55 w 77"/>
                <a:gd name="T15" fmla="*/ 160 h 162"/>
                <a:gd name="T16" fmla="*/ 55 w 77"/>
                <a:gd name="T17" fmla="*/ 162 h 162"/>
                <a:gd name="T18" fmla="*/ 55 w 77"/>
                <a:gd name="T19" fmla="*/ 160 h 162"/>
                <a:gd name="T20" fmla="*/ 61 w 77"/>
                <a:gd name="T21" fmla="*/ 151 h 162"/>
                <a:gd name="T22" fmla="*/ 61 w 77"/>
                <a:gd name="T23" fmla="*/ 150 h 162"/>
                <a:gd name="T24" fmla="*/ 64 w 77"/>
                <a:gd name="T25" fmla="*/ 128 h 162"/>
                <a:gd name="T26" fmla="*/ 67 w 77"/>
                <a:gd name="T27" fmla="*/ 104 h 162"/>
                <a:gd name="T28" fmla="*/ 70 w 77"/>
                <a:gd name="T29" fmla="*/ 74 h 162"/>
                <a:gd name="T30" fmla="*/ 76 w 77"/>
                <a:gd name="T31" fmla="*/ 23 h 162"/>
                <a:gd name="T32" fmla="*/ 63 w 77"/>
                <a:gd name="T33" fmla="*/ 3 h 162"/>
                <a:gd name="T34" fmla="*/ 53 w 77"/>
                <a:gd name="T35" fmla="*/ 4 h 162"/>
                <a:gd name="T36" fmla="*/ 48 w 77"/>
                <a:gd name="T37" fmla="*/ 7 h 162"/>
                <a:gd name="T38" fmla="*/ 21 w 77"/>
                <a:gd name="T39" fmla="*/ 21 h 162"/>
                <a:gd name="T40" fmla="*/ 8 w 77"/>
                <a:gd name="T41" fmla="*/ 27 h 162"/>
                <a:gd name="T42" fmla="*/ 5 w 77"/>
                <a:gd name="T43" fmla="*/ 28 h 162"/>
                <a:gd name="T44" fmla="*/ 0 w 77"/>
                <a:gd name="T45" fmla="*/ 31 h 162"/>
                <a:gd name="T46" fmla="*/ 1 w 77"/>
                <a:gd name="T47" fmla="*/ 36 h 162"/>
                <a:gd name="T48" fmla="*/ 4 w 77"/>
                <a:gd name="T49" fmla="*/ 41 h 162"/>
                <a:gd name="T50" fmla="*/ 18 w 77"/>
                <a:gd name="T51" fmla="*/ 46 h 162"/>
                <a:gd name="T52" fmla="*/ 35 w 77"/>
                <a:gd name="T53" fmla="*/ 39 h 162"/>
                <a:gd name="T54" fmla="*/ 44 w 77"/>
                <a:gd name="T55" fmla="*/ 35 h 162"/>
                <a:gd name="T56" fmla="*/ 47 w 77"/>
                <a:gd name="T57" fmla="*/ 34 h 1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77" h="162">
                  <a:moveTo>
                    <a:pt x="47" y="34"/>
                  </a:moveTo>
                  <a:cubicBezTo>
                    <a:pt x="47" y="37"/>
                    <a:pt x="47" y="37"/>
                    <a:pt x="47" y="37"/>
                  </a:cubicBezTo>
                  <a:cubicBezTo>
                    <a:pt x="47" y="40"/>
                    <a:pt x="47" y="42"/>
                    <a:pt x="47" y="46"/>
                  </a:cubicBezTo>
                  <a:cubicBezTo>
                    <a:pt x="47" y="53"/>
                    <a:pt x="47" y="60"/>
                    <a:pt x="47" y="63"/>
                  </a:cubicBezTo>
                  <a:cubicBezTo>
                    <a:pt x="46" y="71"/>
                    <a:pt x="45" y="79"/>
                    <a:pt x="43" y="87"/>
                  </a:cubicBezTo>
                  <a:cubicBezTo>
                    <a:pt x="41" y="102"/>
                    <a:pt x="39" y="117"/>
                    <a:pt x="38" y="132"/>
                  </a:cubicBezTo>
                  <a:cubicBezTo>
                    <a:pt x="37" y="141"/>
                    <a:pt x="41" y="150"/>
                    <a:pt x="43" y="155"/>
                  </a:cubicBezTo>
                  <a:cubicBezTo>
                    <a:pt x="44" y="157"/>
                    <a:pt x="50" y="160"/>
                    <a:pt x="55" y="160"/>
                  </a:cubicBezTo>
                  <a:cubicBezTo>
                    <a:pt x="55" y="162"/>
                    <a:pt x="55" y="162"/>
                    <a:pt x="55" y="162"/>
                  </a:cubicBezTo>
                  <a:cubicBezTo>
                    <a:pt x="55" y="160"/>
                    <a:pt x="55" y="160"/>
                    <a:pt x="55" y="160"/>
                  </a:cubicBezTo>
                  <a:cubicBezTo>
                    <a:pt x="60" y="160"/>
                    <a:pt x="61" y="157"/>
                    <a:pt x="61" y="151"/>
                  </a:cubicBezTo>
                  <a:cubicBezTo>
                    <a:pt x="61" y="150"/>
                    <a:pt x="61" y="150"/>
                    <a:pt x="61" y="150"/>
                  </a:cubicBezTo>
                  <a:cubicBezTo>
                    <a:pt x="62" y="143"/>
                    <a:pt x="63" y="136"/>
                    <a:pt x="64" y="128"/>
                  </a:cubicBezTo>
                  <a:cubicBezTo>
                    <a:pt x="65" y="120"/>
                    <a:pt x="66" y="112"/>
                    <a:pt x="67" y="104"/>
                  </a:cubicBezTo>
                  <a:cubicBezTo>
                    <a:pt x="68" y="94"/>
                    <a:pt x="69" y="84"/>
                    <a:pt x="70" y="74"/>
                  </a:cubicBezTo>
                  <a:cubicBezTo>
                    <a:pt x="72" y="57"/>
                    <a:pt x="74" y="40"/>
                    <a:pt x="76" y="23"/>
                  </a:cubicBezTo>
                  <a:cubicBezTo>
                    <a:pt x="77" y="13"/>
                    <a:pt x="70" y="8"/>
                    <a:pt x="63" y="3"/>
                  </a:cubicBezTo>
                  <a:cubicBezTo>
                    <a:pt x="59" y="0"/>
                    <a:pt x="56" y="2"/>
                    <a:pt x="53" y="4"/>
                  </a:cubicBezTo>
                  <a:cubicBezTo>
                    <a:pt x="51" y="6"/>
                    <a:pt x="50" y="7"/>
                    <a:pt x="48" y="7"/>
                  </a:cubicBezTo>
                  <a:cubicBezTo>
                    <a:pt x="40" y="12"/>
                    <a:pt x="30" y="17"/>
                    <a:pt x="21" y="21"/>
                  </a:cubicBezTo>
                  <a:cubicBezTo>
                    <a:pt x="17" y="23"/>
                    <a:pt x="12" y="25"/>
                    <a:pt x="8" y="27"/>
                  </a:cubicBezTo>
                  <a:cubicBezTo>
                    <a:pt x="7" y="28"/>
                    <a:pt x="6" y="28"/>
                    <a:pt x="5" y="28"/>
                  </a:cubicBezTo>
                  <a:cubicBezTo>
                    <a:pt x="3" y="29"/>
                    <a:pt x="1" y="30"/>
                    <a:pt x="0" y="31"/>
                  </a:cubicBezTo>
                  <a:cubicBezTo>
                    <a:pt x="0" y="34"/>
                    <a:pt x="0" y="35"/>
                    <a:pt x="1" y="36"/>
                  </a:cubicBezTo>
                  <a:cubicBezTo>
                    <a:pt x="2" y="37"/>
                    <a:pt x="3" y="39"/>
                    <a:pt x="4" y="41"/>
                  </a:cubicBezTo>
                  <a:cubicBezTo>
                    <a:pt x="6" y="46"/>
                    <a:pt x="12" y="48"/>
                    <a:pt x="18" y="46"/>
                  </a:cubicBezTo>
                  <a:cubicBezTo>
                    <a:pt x="23" y="44"/>
                    <a:pt x="28" y="42"/>
                    <a:pt x="35" y="39"/>
                  </a:cubicBezTo>
                  <a:cubicBezTo>
                    <a:pt x="38" y="38"/>
                    <a:pt x="41" y="37"/>
                    <a:pt x="44" y="35"/>
                  </a:cubicBezTo>
                  <a:lnTo>
                    <a:pt x="47" y="34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85400189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road with lights on it&#10;&#10;Description automatically generated with medium confidence">
            <a:extLst>
              <a:ext uri="{FF2B5EF4-FFF2-40B4-BE49-F238E27FC236}">
                <a16:creationId xmlns:a16="http://schemas.microsoft.com/office/drawing/2014/main" id="{69CE7958-B80C-179D-97F3-C0E95F9BDEE9}"/>
              </a:ext>
            </a:extLst>
          </p:cNvPr>
          <p:cNvPicPr>
            <a:picLocks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colorTemperature colorTemp="59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  <a:ext uri="{837473B0-CC2E-450A-ABE3-18F120FF3D39}">
                <a1611:picAttrSrcUrl xmlns:a1611="http://schemas.microsoft.com/office/drawing/2016/11/main" r:id="rId5"/>
              </a:ext>
            </a:extLst>
          </a:blip>
          <a:stretch>
            <a:fillRect/>
          </a:stretch>
        </p:blipFill>
        <p:spPr>
          <a:xfrm>
            <a:off x="69343" y="599694"/>
            <a:ext cx="5758751" cy="4073652"/>
          </a:xfrm>
          <a:prstGeom prst="rect">
            <a:avLst/>
          </a:prstGeom>
          <a:ln>
            <a:noFill/>
          </a:ln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A7620C4F-53F5-0503-1E53-091ED4D0BC0D}"/>
              </a:ext>
            </a:extLst>
          </p:cNvPr>
          <p:cNvSpPr/>
          <p:nvPr/>
        </p:nvSpPr>
        <p:spPr>
          <a:xfrm>
            <a:off x="69343" y="599694"/>
            <a:ext cx="5758751" cy="4073652"/>
          </a:xfrm>
          <a:prstGeom prst="rect">
            <a:avLst/>
          </a:prstGeom>
          <a:solidFill>
            <a:schemeClr val="bg1">
              <a:alpha val="88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graphicFrame>
        <p:nvGraphicFramePr>
          <p:cNvPr id="52" name="think-cell data - do not delete" hidden="1">
            <a:extLst>
              <a:ext uri="{FF2B5EF4-FFF2-40B4-BE49-F238E27FC236}">
                <a16:creationId xmlns:a16="http://schemas.microsoft.com/office/drawing/2014/main" id="{72A24575-C9DE-29A9-4311-A22E7ABDD17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610239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95" imgH="394" progId="TCLayout.ActiveDocument.1">
                  <p:embed/>
                </p:oleObj>
              </mc:Choice>
              <mc:Fallback>
                <p:oleObj name="think-cell Slide" r:id="rId6" imgW="395" imgH="394" progId="TCLayout.ActiveDocument.1">
                  <p:embed/>
                  <p:pic>
                    <p:nvPicPr>
                      <p:cNvPr id="5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2A24575-C9DE-29A9-4311-A22E7ABDD17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4CC2683-2533-1B15-89C9-EB7B5C8538E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98DEE5-5424-45CB-8336-3215AFBD0173}" type="slidenum">
              <a:rPr lang="en-US" smtClean="0"/>
              <a:pPr/>
              <a:t>3</a:t>
            </a:fld>
            <a:endParaRPr lang="en-US" dirty="0"/>
          </a:p>
        </p:txBody>
      </p:sp>
      <p:sp>
        <p:nvSpPr>
          <p:cNvPr id="49" name="Title 48">
            <a:extLst>
              <a:ext uri="{FF2B5EF4-FFF2-40B4-BE49-F238E27FC236}">
                <a16:creationId xmlns:a16="http://schemas.microsoft.com/office/drawing/2014/main" id="{6BB2AC2A-1180-796E-399A-C8131B931B8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 err="1"/>
              <a:t>UnipolTech</a:t>
            </a:r>
            <a:r>
              <a:rPr lang="en-US" dirty="0"/>
              <a:t> is </a:t>
            </a:r>
            <a:r>
              <a:rPr lang="en-US" dirty="0" err="1"/>
              <a:t>Unipol</a:t>
            </a:r>
            <a:r>
              <a:rPr lang="en-US" dirty="0"/>
              <a:t> Group's center of excellence and leader in telematics and electronic tolling</a:t>
            </a:r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61551AEF-4748-F0BC-D141-16947A54D461}"/>
              </a:ext>
            </a:extLst>
          </p:cNvPr>
          <p:cNvGrpSpPr/>
          <p:nvPr/>
        </p:nvGrpSpPr>
        <p:grpSpPr>
          <a:xfrm>
            <a:off x="5532295" y="2189722"/>
            <a:ext cx="893597" cy="893597"/>
            <a:chOff x="5638625" y="2424394"/>
            <a:chExt cx="893597" cy="893597"/>
          </a:xfrm>
        </p:grpSpPr>
        <p:sp>
          <p:nvSpPr>
            <p:cNvPr id="106" name="object 6">
              <a:extLst>
                <a:ext uri="{FF2B5EF4-FFF2-40B4-BE49-F238E27FC236}">
                  <a16:creationId xmlns:a16="http://schemas.microsoft.com/office/drawing/2014/main" id="{989FE0D2-6821-EDF6-91EF-EE2442401FFD}"/>
                </a:ext>
              </a:extLst>
            </p:cNvPr>
            <p:cNvSpPr/>
            <p:nvPr/>
          </p:nvSpPr>
          <p:spPr>
            <a:xfrm>
              <a:off x="5638625" y="2424394"/>
              <a:ext cx="893597" cy="893597"/>
            </a:xfrm>
            <a:custGeom>
              <a:avLst/>
              <a:gdLst/>
              <a:ahLst/>
              <a:cxnLst/>
              <a:rect l="l" t="t" r="r" b="b"/>
              <a:pathLst>
                <a:path w="1196340" h="1196339">
                  <a:moveTo>
                    <a:pt x="598170" y="0"/>
                  </a:moveTo>
                  <a:lnTo>
                    <a:pt x="549110" y="1982"/>
                  </a:lnTo>
                  <a:lnTo>
                    <a:pt x="501142" y="7828"/>
                  </a:lnTo>
                  <a:lnTo>
                    <a:pt x="454421" y="17384"/>
                  </a:lnTo>
                  <a:lnTo>
                    <a:pt x="409100" y="30494"/>
                  </a:lnTo>
                  <a:lnTo>
                    <a:pt x="365333" y="47006"/>
                  </a:lnTo>
                  <a:lnTo>
                    <a:pt x="323274" y="66765"/>
                  </a:lnTo>
                  <a:lnTo>
                    <a:pt x="283077" y="89618"/>
                  </a:lnTo>
                  <a:lnTo>
                    <a:pt x="244896" y="115410"/>
                  </a:lnTo>
                  <a:lnTo>
                    <a:pt x="208885" y="143988"/>
                  </a:lnTo>
                  <a:lnTo>
                    <a:pt x="175198" y="175198"/>
                  </a:lnTo>
                  <a:lnTo>
                    <a:pt x="143988" y="208885"/>
                  </a:lnTo>
                  <a:lnTo>
                    <a:pt x="115410" y="244896"/>
                  </a:lnTo>
                  <a:lnTo>
                    <a:pt x="89618" y="283077"/>
                  </a:lnTo>
                  <a:lnTo>
                    <a:pt x="66765" y="323274"/>
                  </a:lnTo>
                  <a:lnTo>
                    <a:pt x="47006" y="365333"/>
                  </a:lnTo>
                  <a:lnTo>
                    <a:pt x="30494" y="409100"/>
                  </a:lnTo>
                  <a:lnTo>
                    <a:pt x="17384" y="454421"/>
                  </a:lnTo>
                  <a:lnTo>
                    <a:pt x="7828" y="501142"/>
                  </a:lnTo>
                  <a:lnTo>
                    <a:pt x="1982" y="549110"/>
                  </a:lnTo>
                  <a:lnTo>
                    <a:pt x="0" y="598170"/>
                  </a:lnTo>
                  <a:lnTo>
                    <a:pt x="1982" y="647229"/>
                  </a:lnTo>
                  <a:lnTo>
                    <a:pt x="7828" y="695197"/>
                  </a:lnTo>
                  <a:lnTo>
                    <a:pt x="17384" y="741918"/>
                  </a:lnTo>
                  <a:lnTo>
                    <a:pt x="30494" y="787239"/>
                  </a:lnTo>
                  <a:lnTo>
                    <a:pt x="47006" y="831006"/>
                  </a:lnTo>
                  <a:lnTo>
                    <a:pt x="66765" y="873065"/>
                  </a:lnTo>
                  <a:lnTo>
                    <a:pt x="89618" y="913262"/>
                  </a:lnTo>
                  <a:lnTo>
                    <a:pt x="115410" y="951443"/>
                  </a:lnTo>
                  <a:lnTo>
                    <a:pt x="143988" y="987454"/>
                  </a:lnTo>
                  <a:lnTo>
                    <a:pt x="175198" y="1021141"/>
                  </a:lnTo>
                  <a:lnTo>
                    <a:pt x="208885" y="1052351"/>
                  </a:lnTo>
                  <a:lnTo>
                    <a:pt x="244896" y="1080929"/>
                  </a:lnTo>
                  <a:lnTo>
                    <a:pt x="283077" y="1106721"/>
                  </a:lnTo>
                  <a:lnTo>
                    <a:pt x="323274" y="1129574"/>
                  </a:lnTo>
                  <a:lnTo>
                    <a:pt x="365333" y="1149333"/>
                  </a:lnTo>
                  <a:lnTo>
                    <a:pt x="409100" y="1165845"/>
                  </a:lnTo>
                  <a:lnTo>
                    <a:pt x="454421" y="1178955"/>
                  </a:lnTo>
                  <a:lnTo>
                    <a:pt x="501142" y="1188511"/>
                  </a:lnTo>
                  <a:lnTo>
                    <a:pt x="549110" y="1194357"/>
                  </a:lnTo>
                  <a:lnTo>
                    <a:pt x="598170" y="1196340"/>
                  </a:lnTo>
                  <a:lnTo>
                    <a:pt x="647229" y="1194357"/>
                  </a:lnTo>
                  <a:lnTo>
                    <a:pt x="695197" y="1188511"/>
                  </a:lnTo>
                  <a:lnTo>
                    <a:pt x="741918" y="1178955"/>
                  </a:lnTo>
                  <a:lnTo>
                    <a:pt x="787239" y="1165845"/>
                  </a:lnTo>
                  <a:lnTo>
                    <a:pt x="831006" y="1149333"/>
                  </a:lnTo>
                  <a:lnTo>
                    <a:pt x="873065" y="1129574"/>
                  </a:lnTo>
                  <a:lnTo>
                    <a:pt x="913262" y="1106721"/>
                  </a:lnTo>
                  <a:lnTo>
                    <a:pt x="951443" y="1080929"/>
                  </a:lnTo>
                  <a:lnTo>
                    <a:pt x="987454" y="1052351"/>
                  </a:lnTo>
                  <a:lnTo>
                    <a:pt x="1021141" y="1021141"/>
                  </a:lnTo>
                  <a:lnTo>
                    <a:pt x="1052351" y="987454"/>
                  </a:lnTo>
                  <a:lnTo>
                    <a:pt x="1080929" y="951443"/>
                  </a:lnTo>
                  <a:lnTo>
                    <a:pt x="1106721" y="913262"/>
                  </a:lnTo>
                  <a:lnTo>
                    <a:pt x="1129574" y="873065"/>
                  </a:lnTo>
                  <a:lnTo>
                    <a:pt x="1149333" y="831006"/>
                  </a:lnTo>
                  <a:lnTo>
                    <a:pt x="1165845" y="787239"/>
                  </a:lnTo>
                  <a:lnTo>
                    <a:pt x="1178955" y="741918"/>
                  </a:lnTo>
                  <a:lnTo>
                    <a:pt x="1188511" y="695197"/>
                  </a:lnTo>
                  <a:lnTo>
                    <a:pt x="1194357" y="647229"/>
                  </a:lnTo>
                  <a:lnTo>
                    <a:pt x="1196340" y="598170"/>
                  </a:lnTo>
                  <a:lnTo>
                    <a:pt x="1194357" y="549110"/>
                  </a:lnTo>
                  <a:lnTo>
                    <a:pt x="1188511" y="501142"/>
                  </a:lnTo>
                  <a:lnTo>
                    <a:pt x="1178955" y="454421"/>
                  </a:lnTo>
                  <a:lnTo>
                    <a:pt x="1165845" y="409100"/>
                  </a:lnTo>
                  <a:lnTo>
                    <a:pt x="1149333" y="365333"/>
                  </a:lnTo>
                  <a:lnTo>
                    <a:pt x="1129574" y="323274"/>
                  </a:lnTo>
                  <a:lnTo>
                    <a:pt x="1106721" y="283077"/>
                  </a:lnTo>
                  <a:lnTo>
                    <a:pt x="1080929" y="244896"/>
                  </a:lnTo>
                  <a:lnTo>
                    <a:pt x="1052351" y="208885"/>
                  </a:lnTo>
                  <a:lnTo>
                    <a:pt x="1021141" y="175198"/>
                  </a:lnTo>
                  <a:lnTo>
                    <a:pt x="987454" y="143988"/>
                  </a:lnTo>
                  <a:lnTo>
                    <a:pt x="951443" y="115410"/>
                  </a:lnTo>
                  <a:lnTo>
                    <a:pt x="913262" y="89618"/>
                  </a:lnTo>
                  <a:lnTo>
                    <a:pt x="873065" y="66765"/>
                  </a:lnTo>
                  <a:lnTo>
                    <a:pt x="831006" y="47006"/>
                  </a:lnTo>
                  <a:lnTo>
                    <a:pt x="787239" y="30494"/>
                  </a:lnTo>
                  <a:lnTo>
                    <a:pt x="741918" y="17384"/>
                  </a:lnTo>
                  <a:lnTo>
                    <a:pt x="695197" y="7828"/>
                  </a:lnTo>
                  <a:lnTo>
                    <a:pt x="647229" y="1982"/>
                  </a:lnTo>
                  <a:lnTo>
                    <a:pt x="598170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pPr defTabSz="619323">
                <a:defRPr/>
              </a:pPr>
              <a:endParaRPr lang="en-US" sz="1344" dirty="0">
                <a:solidFill>
                  <a:srgbClr val="0F3250"/>
                </a:solidFill>
                <a:latin typeface="Calibri"/>
              </a:endParaRPr>
            </a:p>
          </p:txBody>
        </p:sp>
        <p:pic>
          <p:nvPicPr>
            <p:cNvPr id="107" name="object 13">
              <a:extLst>
                <a:ext uri="{FF2B5EF4-FFF2-40B4-BE49-F238E27FC236}">
                  <a16:creationId xmlns:a16="http://schemas.microsoft.com/office/drawing/2014/main" id="{8EE53D41-11F2-0863-6054-E0A1A1D6D65B}"/>
                </a:ext>
              </a:extLst>
            </p:cNvPr>
            <p:cNvPicPr/>
            <p:nvPr/>
          </p:nvPicPr>
          <p:blipFill>
            <a:blip r:embed="rId8" cstate="hqprint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744989" y="2549313"/>
              <a:ext cx="680869" cy="643758"/>
            </a:xfrm>
            <a:prstGeom prst="rect">
              <a:avLst/>
            </a:prstGeom>
          </p:spPr>
        </p:pic>
      </p:grp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5A76C9DC-E60A-6F93-2F7B-CB32FE577A75}"/>
              </a:ext>
            </a:extLst>
          </p:cNvPr>
          <p:cNvCxnSpPr/>
          <p:nvPr/>
        </p:nvCxnSpPr>
        <p:spPr>
          <a:xfrm flipV="1">
            <a:off x="2910136" y="812082"/>
            <a:ext cx="0" cy="3825388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9" name="object 16">
            <a:extLst>
              <a:ext uri="{FF2B5EF4-FFF2-40B4-BE49-F238E27FC236}">
                <a16:creationId xmlns:a16="http://schemas.microsoft.com/office/drawing/2014/main" id="{2F567A01-D89E-6496-9CBF-15D6726EBCB8}"/>
              </a:ext>
            </a:extLst>
          </p:cNvPr>
          <p:cNvSpPr/>
          <p:nvPr/>
        </p:nvSpPr>
        <p:spPr>
          <a:xfrm>
            <a:off x="2900853" y="1366982"/>
            <a:ext cx="1313360" cy="2626247"/>
          </a:xfrm>
          <a:custGeom>
            <a:avLst/>
            <a:gdLst/>
            <a:ahLst/>
            <a:cxnLst/>
            <a:rect l="l" t="t" r="r" b="b"/>
            <a:pathLst>
              <a:path w="1758314" h="3515995">
                <a:moveTo>
                  <a:pt x="7823" y="0"/>
                </a:moveTo>
                <a:lnTo>
                  <a:pt x="0" y="1757908"/>
                </a:lnTo>
                <a:lnTo>
                  <a:pt x="0" y="3515855"/>
                </a:lnTo>
                <a:lnTo>
                  <a:pt x="48236" y="3515206"/>
                </a:lnTo>
                <a:lnTo>
                  <a:pt x="96152" y="3513269"/>
                </a:lnTo>
                <a:lnTo>
                  <a:pt x="143732" y="3510062"/>
                </a:lnTo>
                <a:lnTo>
                  <a:pt x="190958" y="3505601"/>
                </a:lnTo>
                <a:lnTo>
                  <a:pt x="237814" y="3499902"/>
                </a:lnTo>
                <a:lnTo>
                  <a:pt x="284284" y="3492983"/>
                </a:lnTo>
                <a:lnTo>
                  <a:pt x="330350" y="3484859"/>
                </a:lnTo>
                <a:lnTo>
                  <a:pt x="375997" y="3475547"/>
                </a:lnTo>
                <a:lnTo>
                  <a:pt x="421207" y="3465064"/>
                </a:lnTo>
                <a:lnTo>
                  <a:pt x="465963" y="3453426"/>
                </a:lnTo>
                <a:lnTo>
                  <a:pt x="510250" y="3440651"/>
                </a:lnTo>
                <a:lnTo>
                  <a:pt x="554050" y="3426754"/>
                </a:lnTo>
                <a:lnTo>
                  <a:pt x="597347" y="3411752"/>
                </a:lnTo>
                <a:lnTo>
                  <a:pt x="640124" y="3395661"/>
                </a:lnTo>
                <a:lnTo>
                  <a:pt x="682365" y="3378499"/>
                </a:lnTo>
                <a:lnTo>
                  <a:pt x="724052" y="3360282"/>
                </a:lnTo>
                <a:lnTo>
                  <a:pt x="765170" y="3341026"/>
                </a:lnTo>
                <a:lnTo>
                  <a:pt x="805701" y="3320748"/>
                </a:lnTo>
                <a:lnTo>
                  <a:pt x="845629" y="3299465"/>
                </a:lnTo>
                <a:lnTo>
                  <a:pt x="884937" y="3277193"/>
                </a:lnTo>
                <a:lnTo>
                  <a:pt x="923609" y="3253948"/>
                </a:lnTo>
                <a:lnTo>
                  <a:pt x="961628" y="3229748"/>
                </a:lnTo>
                <a:lnTo>
                  <a:pt x="998977" y="3204609"/>
                </a:lnTo>
                <a:lnTo>
                  <a:pt x="1035640" y="3178547"/>
                </a:lnTo>
                <a:lnTo>
                  <a:pt x="1071600" y="3151579"/>
                </a:lnTo>
                <a:lnTo>
                  <a:pt x="1106840" y="3123722"/>
                </a:lnTo>
                <a:lnTo>
                  <a:pt x="1141344" y="3094992"/>
                </a:lnTo>
                <a:lnTo>
                  <a:pt x="1175094" y="3065405"/>
                </a:lnTo>
                <a:lnTo>
                  <a:pt x="1208076" y="3034980"/>
                </a:lnTo>
                <a:lnTo>
                  <a:pt x="1240270" y="3003730"/>
                </a:lnTo>
                <a:lnTo>
                  <a:pt x="1271662" y="2971675"/>
                </a:lnTo>
                <a:lnTo>
                  <a:pt x="1302235" y="2938829"/>
                </a:lnTo>
                <a:lnTo>
                  <a:pt x="1331971" y="2905211"/>
                </a:lnTo>
                <a:lnTo>
                  <a:pt x="1360854" y="2870835"/>
                </a:lnTo>
                <a:lnTo>
                  <a:pt x="1388868" y="2835719"/>
                </a:lnTo>
                <a:lnTo>
                  <a:pt x="1415995" y="2799880"/>
                </a:lnTo>
                <a:lnTo>
                  <a:pt x="1442220" y="2763333"/>
                </a:lnTo>
                <a:lnTo>
                  <a:pt x="1467525" y="2726096"/>
                </a:lnTo>
                <a:lnTo>
                  <a:pt x="1491895" y="2688185"/>
                </a:lnTo>
                <a:lnTo>
                  <a:pt x="1515311" y="2649617"/>
                </a:lnTo>
                <a:lnTo>
                  <a:pt x="1537758" y="2610408"/>
                </a:lnTo>
                <a:lnTo>
                  <a:pt x="1559218" y="2570575"/>
                </a:lnTo>
                <a:lnTo>
                  <a:pt x="1579677" y="2530134"/>
                </a:lnTo>
                <a:lnTo>
                  <a:pt x="1599115" y="2489102"/>
                </a:lnTo>
                <a:lnTo>
                  <a:pt x="1617518" y="2447496"/>
                </a:lnTo>
                <a:lnTo>
                  <a:pt x="1634868" y="2405332"/>
                </a:lnTo>
                <a:lnTo>
                  <a:pt x="1651148" y="2362627"/>
                </a:lnTo>
                <a:lnTo>
                  <a:pt x="1666343" y="2319397"/>
                </a:lnTo>
                <a:lnTo>
                  <a:pt x="1680435" y="2275659"/>
                </a:lnTo>
                <a:lnTo>
                  <a:pt x="1693407" y="2231429"/>
                </a:lnTo>
                <a:lnTo>
                  <a:pt x="1705244" y="2186724"/>
                </a:lnTo>
                <a:lnTo>
                  <a:pt x="1715928" y="2141561"/>
                </a:lnTo>
                <a:lnTo>
                  <a:pt x="1725443" y="2095957"/>
                </a:lnTo>
                <a:lnTo>
                  <a:pt x="1733772" y="2049926"/>
                </a:lnTo>
                <a:lnTo>
                  <a:pt x="1740898" y="2003488"/>
                </a:lnTo>
                <a:lnTo>
                  <a:pt x="1746805" y="1956657"/>
                </a:lnTo>
                <a:lnTo>
                  <a:pt x="1751476" y="1909450"/>
                </a:lnTo>
                <a:lnTo>
                  <a:pt x="1754895" y="1861885"/>
                </a:lnTo>
                <a:lnTo>
                  <a:pt x="1757044" y="1813977"/>
                </a:lnTo>
                <a:lnTo>
                  <a:pt x="1757908" y="1765744"/>
                </a:lnTo>
                <a:lnTo>
                  <a:pt x="1757471" y="1717353"/>
                </a:lnTo>
                <a:lnTo>
                  <a:pt x="1755737" y="1669280"/>
                </a:lnTo>
                <a:lnTo>
                  <a:pt x="1752724" y="1621541"/>
                </a:lnTo>
                <a:lnTo>
                  <a:pt x="1748447" y="1574153"/>
                </a:lnTo>
                <a:lnTo>
                  <a:pt x="1742924" y="1527132"/>
                </a:lnTo>
                <a:lnTo>
                  <a:pt x="1736172" y="1480497"/>
                </a:lnTo>
                <a:lnTo>
                  <a:pt x="1728206" y="1434263"/>
                </a:lnTo>
                <a:lnTo>
                  <a:pt x="1719044" y="1388447"/>
                </a:lnTo>
                <a:lnTo>
                  <a:pt x="1708702" y="1343066"/>
                </a:lnTo>
                <a:lnTo>
                  <a:pt x="1697198" y="1298138"/>
                </a:lnTo>
                <a:lnTo>
                  <a:pt x="1684547" y="1253678"/>
                </a:lnTo>
                <a:lnTo>
                  <a:pt x="1670766" y="1209704"/>
                </a:lnTo>
                <a:lnTo>
                  <a:pt x="1655873" y="1166233"/>
                </a:lnTo>
                <a:lnTo>
                  <a:pt x="1639883" y="1123281"/>
                </a:lnTo>
                <a:lnTo>
                  <a:pt x="1622814" y="1080865"/>
                </a:lnTo>
                <a:lnTo>
                  <a:pt x="1604682" y="1039002"/>
                </a:lnTo>
                <a:lnTo>
                  <a:pt x="1585503" y="997709"/>
                </a:lnTo>
                <a:lnTo>
                  <a:pt x="1565295" y="957003"/>
                </a:lnTo>
                <a:lnTo>
                  <a:pt x="1544074" y="916900"/>
                </a:lnTo>
                <a:lnTo>
                  <a:pt x="1521857" y="877417"/>
                </a:lnTo>
                <a:lnTo>
                  <a:pt x="1498661" y="838572"/>
                </a:lnTo>
                <a:lnTo>
                  <a:pt x="1474502" y="800380"/>
                </a:lnTo>
                <a:lnTo>
                  <a:pt x="1449396" y="762860"/>
                </a:lnTo>
                <a:lnTo>
                  <a:pt x="1423361" y="726027"/>
                </a:lnTo>
                <a:lnTo>
                  <a:pt x="1396414" y="689898"/>
                </a:lnTo>
                <a:lnTo>
                  <a:pt x="1368570" y="654491"/>
                </a:lnTo>
                <a:lnTo>
                  <a:pt x="1339847" y="619822"/>
                </a:lnTo>
                <a:lnTo>
                  <a:pt x="1310261" y="585908"/>
                </a:lnTo>
                <a:lnTo>
                  <a:pt x="1279829" y="552766"/>
                </a:lnTo>
                <a:lnTo>
                  <a:pt x="1248568" y="520412"/>
                </a:lnTo>
                <a:lnTo>
                  <a:pt x="1216494" y="488864"/>
                </a:lnTo>
                <a:lnTo>
                  <a:pt x="1183625" y="458138"/>
                </a:lnTo>
                <a:lnTo>
                  <a:pt x="1149975" y="428251"/>
                </a:lnTo>
                <a:lnTo>
                  <a:pt x="1115564" y="399221"/>
                </a:lnTo>
                <a:lnTo>
                  <a:pt x="1080406" y="371063"/>
                </a:lnTo>
                <a:lnTo>
                  <a:pt x="1044519" y="343794"/>
                </a:lnTo>
                <a:lnTo>
                  <a:pt x="1007919" y="317432"/>
                </a:lnTo>
                <a:lnTo>
                  <a:pt x="970624" y="291994"/>
                </a:lnTo>
                <a:lnTo>
                  <a:pt x="932649" y="267495"/>
                </a:lnTo>
                <a:lnTo>
                  <a:pt x="894012" y="243954"/>
                </a:lnTo>
                <a:lnTo>
                  <a:pt x="854729" y="221386"/>
                </a:lnTo>
                <a:lnTo>
                  <a:pt x="814816" y="199809"/>
                </a:lnTo>
                <a:lnTo>
                  <a:pt x="774292" y="179239"/>
                </a:lnTo>
                <a:lnTo>
                  <a:pt x="733171" y="159694"/>
                </a:lnTo>
                <a:lnTo>
                  <a:pt x="691471" y="141189"/>
                </a:lnTo>
                <a:lnTo>
                  <a:pt x="649209" y="123743"/>
                </a:lnTo>
                <a:lnTo>
                  <a:pt x="606401" y="107371"/>
                </a:lnTo>
                <a:lnTo>
                  <a:pt x="563064" y="92091"/>
                </a:lnTo>
                <a:lnTo>
                  <a:pt x="519215" y="77919"/>
                </a:lnTo>
                <a:lnTo>
                  <a:pt x="474869" y="64873"/>
                </a:lnTo>
                <a:lnTo>
                  <a:pt x="430045" y="52968"/>
                </a:lnTo>
                <a:lnTo>
                  <a:pt x="384759" y="42223"/>
                </a:lnTo>
                <a:lnTo>
                  <a:pt x="339026" y="32653"/>
                </a:lnTo>
                <a:lnTo>
                  <a:pt x="292865" y="24276"/>
                </a:lnTo>
                <a:lnTo>
                  <a:pt x="246292" y="17108"/>
                </a:lnTo>
                <a:lnTo>
                  <a:pt x="199322" y="11167"/>
                </a:lnTo>
                <a:lnTo>
                  <a:pt x="151974" y="6468"/>
                </a:lnTo>
                <a:lnTo>
                  <a:pt x="104264" y="3030"/>
                </a:lnTo>
                <a:lnTo>
                  <a:pt x="56208" y="868"/>
                </a:lnTo>
                <a:lnTo>
                  <a:pt x="7823" y="0"/>
                </a:lnTo>
                <a:close/>
              </a:path>
            </a:pathLst>
          </a:custGeom>
          <a:solidFill>
            <a:schemeClr val="accent5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pPr defTabSz="682989">
              <a:defRPr/>
            </a:pPr>
            <a:endParaRPr lang="en-US" sz="1344" dirty="0">
              <a:latin typeface="Calibri"/>
            </a:endParaRPr>
          </a:p>
        </p:txBody>
      </p:sp>
      <p:sp>
        <p:nvSpPr>
          <p:cNvPr id="110" name="object 17">
            <a:extLst>
              <a:ext uri="{FF2B5EF4-FFF2-40B4-BE49-F238E27FC236}">
                <a16:creationId xmlns:a16="http://schemas.microsoft.com/office/drawing/2014/main" id="{360886BF-B0CF-0332-746F-A029628D9CFC}"/>
              </a:ext>
            </a:extLst>
          </p:cNvPr>
          <p:cNvSpPr/>
          <p:nvPr/>
        </p:nvSpPr>
        <p:spPr>
          <a:xfrm>
            <a:off x="1607140" y="1363548"/>
            <a:ext cx="1313835" cy="2626247"/>
          </a:xfrm>
          <a:custGeom>
            <a:avLst/>
            <a:gdLst/>
            <a:ahLst/>
            <a:cxnLst/>
            <a:rect l="l" t="t" r="r" b="b"/>
            <a:pathLst>
              <a:path w="1758950" h="3515995">
                <a:moveTo>
                  <a:pt x="1758670" y="0"/>
                </a:moveTo>
                <a:lnTo>
                  <a:pt x="1710412" y="649"/>
                </a:lnTo>
                <a:lnTo>
                  <a:pt x="1662475" y="2585"/>
                </a:lnTo>
                <a:lnTo>
                  <a:pt x="1614874" y="5792"/>
                </a:lnTo>
                <a:lnTo>
                  <a:pt x="1567627" y="10253"/>
                </a:lnTo>
                <a:lnTo>
                  <a:pt x="1520750" y="15952"/>
                </a:lnTo>
                <a:lnTo>
                  <a:pt x="1474259" y="22872"/>
                </a:lnTo>
                <a:lnTo>
                  <a:pt x="1428173" y="30996"/>
                </a:lnTo>
                <a:lnTo>
                  <a:pt x="1382506" y="40307"/>
                </a:lnTo>
                <a:lnTo>
                  <a:pt x="1337276" y="50790"/>
                </a:lnTo>
                <a:lnTo>
                  <a:pt x="1292500" y="62428"/>
                </a:lnTo>
                <a:lnTo>
                  <a:pt x="1248194" y="75204"/>
                </a:lnTo>
                <a:lnTo>
                  <a:pt x="1204374" y="89101"/>
                </a:lnTo>
                <a:lnTo>
                  <a:pt x="1161059" y="104103"/>
                </a:lnTo>
                <a:lnTo>
                  <a:pt x="1118263" y="120193"/>
                </a:lnTo>
                <a:lnTo>
                  <a:pt x="1076004" y="137355"/>
                </a:lnTo>
                <a:lnTo>
                  <a:pt x="1034298" y="155572"/>
                </a:lnTo>
                <a:lnTo>
                  <a:pt x="993162" y="174828"/>
                </a:lnTo>
                <a:lnTo>
                  <a:pt x="952614" y="195106"/>
                </a:lnTo>
                <a:lnTo>
                  <a:pt x="912668" y="216389"/>
                </a:lnTo>
                <a:lnTo>
                  <a:pt x="873343" y="238662"/>
                </a:lnTo>
                <a:lnTo>
                  <a:pt x="834654" y="261906"/>
                </a:lnTo>
                <a:lnTo>
                  <a:pt x="796619" y="286106"/>
                </a:lnTo>
                <a:lnTo>
                  <a:pt x="759253" y="311246"/>
                </a:lnTo>
                <a:lnTo>
                  <a:pt x="722575" y="337307"/>
                </a:lnTo>
                <a:lnTo>
                  <a:pt x="686600" y="364275"/>
                </a:lnTo>
                <a:lnTo>
                  <a:pt x="651344" y="392132"/>
                </a:lnTo>
                <a:lnTo>
                  <a:pt x="616826" y="420863"/>
                </a:lnTo>
                <a:lnTo>
                  <a:pt x="583060" y="450449"/>
                </a:lnTo>
                <a:lnTo>
                  <a:pt x="550065" y="480875"/>
                </a:lnTo>
                <a:lnTo>
                  <a:pt x="517856" y="512124"/>
                </a:lnTo>
                <a:lnTo>
                  <a:pt x="486451" y="544179"/>
                </a:lnTo>
                <a:lnTo>
                  <a:pt x="455865" y="577025"/>
                </a:lnTo>
                <a:lnTo>
                  <a:pt x="426116" y="610644"/>
                </a:lnTo>
                <a:lnTo>
                  <a:pt x="397221" y="645019"/>
                </a:lnTo>
                <a:lnTo>
                  <a:pt x="369195" y="680135"/>
                </a:lnTo>
                <a:lnTo>
                  <a:pt x="342056" y="715975"/>
                </a:lnTo>
                <a:lnTo>
                  <a:pt x="315820" y="752521"/>
                </a:lnTo>
                <a:lnTo>
                  <a:pt x="290504" y="789758"/>
                </a:lnTo>
                <a:lnTo>
                  <a:pt x="266125" y="827669"/>
                </a:lnTo>
                <a:lnTo>
                  <a:pt x="242698" y="866237"/>
                </a:lnTo>
                <a:lnTo>
                  <a:pt x="220242" y="905446"/>
                </a:lnTo>
                <a:lnTo>
                  <a:pt x="198772" y="945279"/>
                </a:lnTo>
                <a:lnTo>
                  <a:pt x="178305" y="985720"/>
                </a:lnTo>
                <a:lnTo>
                  <a:pt x="158859" y="1026752"/>
                </a:lnTo>
                <a:lnTo>
                  <a:pt x="140448" y="1068358"/>
                </a:lnTo>
                <a:lnTo>
                  <a:pt x="123091" y="1110522"/>
                </a:lnTo>
                <a:lnTo>
                  <a:pt x="106804" y="1153227"/>
                </a:lnTo>
                <a:lnTo>
                  <a:pt x="91603" y="1196457"/>
                </a:lnTo>
                <a:lnTo>
                  <a:pt x="77505" y="1240195"/>
                </a:lnTo>
                <a:lnTo>
                  <a:pt x="64527" y="1284425"/>
                </a:lnTo>
                <a:lnTo>
                  <a:pt x="52685" y="1329130"/>
                </a:lnTo>
                <a:lnTo>
                  <a:pt x="41997" y="1374293"/>
                </a:lnTo>
                <a:lnTo>
                  <a:pt x="32478" y="1419898"/>
                </a:lnTo>
                <a:lnTo>
                  <a:pt x="24146" y="1465928"/>
                </a:lnTo>
                <a:lnTo>
                  <a:pt x="17017" y="1512367"/>
                </a:lnTo>
                <a:lnTo>
                  <a:pt x="11107" y="1559198"/>
                </a:lnTo>
                <a:lnTo>
                  <a:pt x="6434" y="1606404"/>
                </a:lnTo>
                <a:lnTo>
                  <a:pt x="3014" y="1653969"/>
                </a:lnTo>
                <a:lnTo>
                  <a:pt x="863" y="1701877"/>
                </a:lnTo>
                <a:lnTo>
                  <a:pt x="0" y="1750110"/>
                </a:lnTo>
                <a:lnTo>
                  <a:pt x="437" y="1798501"/>
                </a:lnTo>
                <a:lnTo>
                  <a:pt x="2172" y="1846574"/>
                </a:lnTo>
                <a:lnTo>
                  <a:pt x="5186" y="1894314"/>
                </a:lnTo>
                <a:lnTo>
                  <a:pt x="9465" y="1941702"/>
                </a:lnTo>
                <a:lnTo>
                  <a:pt x="14990" y="1988722"/>
                </a:lnTo>
                <a:lnTo>
                  <a:pt x="21746" y="2035358"/>
                </a:lnTo>
                <a:lnTo>
                  <a:pt x="29715" y="2081592"/>
                </a:lnTo>
                <a:lnTo>
                  <a:pt x="38881" y="2127407"/>
                </a:lnTo>
                <a:lnTo>
                  <a:pt x="49227" y="2172788"/>
                </a:lnTo>
                <a:lnTo>
                  <a:pt x="60737" y="2217716"/>
                </a:lnTo>
                <a:lnTo>
                  <a:pt x="73394" y="2262176"/>
                </a:lnTo>
                <a:lnTo>
                  <a:pt x="87180" y="2306150"/>
                </a:lnTo>
                <a:lnTo>
                  <a:pt x="102080" y="2349621"/>
                </a:lnTo>
                <a:lnTo>
                  <a:pt x="118077" y="2392573"/>
                </a:lnTo>
                <a:lnTo>
                  <a:pt x="135154" y="2434989"/>
                </a:lnTo>
                <a:lnTo>
                  <a:pt x="153294" y="2476852"/>
                </a:lnTo>
                <a:lnTo>
                  <a:pt x="172481" y="2518145"/>
                </a:lnTo>
                <a:lnTo>
                  <a:pt x="192698" y="2558852"/>
                </a:lnTo>
                <a:lnTo>
                  <a:pt x="213928" y="2598955"/>
                </a:lnTo>
                <a:lnTo>
                  <a:pt x="236155" y="2638437"/>
                </a:lnTo>
                <a:lnTo>
                  <a:pt x="259361" y="2677283"/>
                </a:lnTo>
                <a:lnTo>
                  <a:pt x="283531" y="2715474"/>
                </a:lnTo>
                <a:lnTo>
                  <a:pt x="308647" y="2752995"/>
                </a:lnTo>
                <a:lnTo>
                  <a:pt x="334694" y="2789828"/>
                </a:lnTo>
                <a:lnTo>
                  <a:pt x="361653" y="2825956"/>
                </a:lnTo>
                <a:lnTo>
                  <a:pt x="389509" y="2861363"/>
                </a:lnTo>
                <a:lnTo>
                  <a:pt x="418245" y="2896032"/>
                </a:lnTo>
                <a:lnTo>
                  <a:pt x="447843" y="2929946"/>
                </a:lnTo>
                <a:lnTo>
                  <a:pt x="478288" y="2963089"/>
                </a:lnTo>
                <a:lnTo>
                  <a:pt x="509563" y="2995442"/>
                </a:lnTo>
                <a:lnTo>
                  <a:pt x="541651" y="3026990"/>
                </a:lnTo>
                <a:lnTo>
                  <a:pt x="574535" y="3057716"/>
                </a:lnTo>
                <a:lnTo>
                  <a:pt x="608199" y="3087603"/>
                </a:lnTo>
                <a:lnTo>
                  <a:pt x="642626" y="3116634"/>
                </a:lnTo>
                <a:lnTo>
                  <a:pt x="677799" y="3144792"/>
                </a:lnTo>
                <a:lnTo>
                  <a:pt x="713702" y="3172060"/>
                </a:lnTo>
                <a:lnTo>
                  <a:pt x="750317" y="3198422"/>
                </a:lnTo>
                <a:lnTo>
                  <a:pt x="787629" y="3223860"/>
                </a:lnTo>
                <a:lnTo>
                  <a:pt x="825620" y="3248359"/>
                </a:lnTo>
                <a:lnTo>
                  <a:pt x="864274" y="3271901"/>
                </a:lnTo>
                <a:lnTo>
                  <a:pt x="903574" y="3294468"/>
                </a:lnTo>
                <a:lnTo>
                  <a:pt x="943504" y="3316045"/>
                </a:lnTo>
                <a:lnTo>
                  <a:pt x="984046" y="3336615"/>
                </a:lnTo>
                <a:lnTo>
                  <a:pt x="1025185" y="3356161"/>
                </a:lnTo>
                <a:lnTo>
                  <a:pt x="1066902" y="3374665"/>
                </a:lnTo>
                <a:lnTo>
                  <a:pt x="1109183" y="3392112"/>
                </a:lnTo>
                <a:lnTo>
                  <a:pt x="1152010" y="3408483"/>
                </a:lnTo>
                <a:lnTo>
                  <a:pt x="1195365" y="3423763"/>
                </a:lnTo>
                <a:lnTo>
                  <a:pt x="1239234" y="3437935"/>
                </a:lnTo>
                <a:lnTo>
                  <a:pt x="1283598" y="3450982"/>
                </a:lnTo>
                <a:lnTo>
                  <a:pt x="1328442" y="3462886"/>
                </a:lnTo>
                <a:lnTo>
                  <a:pt x="1373748" y="3473631"/>
                </a:lnTo>
                <a:lnTo>
                  <a:pt x="1419500" y="3483201"/>
                </a:lnTo>
                <a:lnTo>
                  <a:pt x="1465681" y="3491578"/>
                </a:lnTo>
                <a:lnTo>
                  <a:pt x="1512275" y="3498746"/>
                </a:lnTo>
                <a:lnTo>
                  <a:pt x="1559265" y="3504688"/>
                </a:lnTo>
                <a:lnTo>
                  <a:pt x="1606633" y="3509386"/>
                </a:lnTo>
                <a:lnTo>
                  <a:pt x="1654364" y="3512825"/>
                </a:lnTo>
                <a:lnTo>
                  <a:pt x="1702441" y="3514987"/>
                </a:lnTo>
                <a:lnTo>
                  <a:pt x="1750847" y="3515855"/>
                </a:lnTo>
                <a:lnTo>
                  <a:pt x="1758670" y="1757946"/>
                </a:lnTo>
                <a:lnTo>
                  <a:pt x="1758670" y="0"/>
                </a:lnTo>
                <a:close/>
              </a:path>
            </a:pathLst>
          </a:custGeom>
          <a:solidFill>
            <a:schemeClr val="accent4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pPr defTabSz="682989">
              <a:defRPr/>
            </a:pPr>
            <a:endParaRPr lang="en-US" sz="1344" dirty="0">
              <a:latin typeface="Calibri"/>
            </a:endParaRPr>
          </a:p>
        </p:txBody>
      </p:sp>
      <p:pic>
        <p:nvPicPr>
          <p:cNvPr id="111" name="object 18">
            <a:extLst>
              <a:ext uri="{FF2B5EF4-FFF2-40B4-BE49-F238E27FC236}">
                <a16:creationId xmlns:a16="http://schemas.microsoft.com/office/drawing/2014/main" id="{F8B26AFF-EBD9-EFF1-8E26-D88EF35C145C}"/>
              </a:ext>
            </a:extLst>
          </p:cNvPr>
          <p:cNvPicPr/>
          <p:nvPr/>
        </p:nvPicPr>
        <p:blipFill>
          <a:blip r:embed="rId9" cstate="print"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2539995" y="2291869"/>
            <a:ext cx="761549" cy="761550"/>
          </a:xfrm>
          <a:prstGeom prst="rect">
            <a:avLst/>
          </a:prstGeom>
        </p:spPr>
      </p:pic>
      <p:sp>
        <p:nvSpPr>
          <p:cNvPr id="112" name="object 19">
            <a:extLst>
              <a:ext uri="{FF2B5EF4-FFF2-40B4-BE49-F238E27FC236}">
                <a16:creationId xmlns:a16="http://schemas.microsoft.com/office/drawing/2014/main" id="{19D2AC9A-EE2C-E7DC-530A-DD7FDBEA06C2}"/>
              </a:ext>
            </a:extLst>
          </p:cNvPr>
          <p:cNvSpPr/>
          <p:nvPr/>
        </p:nvSpPr>
        <p:spPr>
          <a:xfrm>
            <a:off x="2539995" y="2291868"/>
            <a:ext cx="761740" cy="761740"/>
          </a:xfrm>
          <a:custGeom>
            <a:avLst/>
            <a:gdLst/>
            <a:ahLst/>
            <a:cxnLst/>
            <a:rect l="l" t="t" r="r" b="b"/>
            <a:pathLst>
              <a:path w="1019810" h="1019810">
                <a:moveTo>
                  <a:pt x="0" y="373176"/>
                </a:moveTo>
                <a:lnTo>
                  <a:pt x="136601" y="136601"/>
                </a:lnTo>
                <a:lnTo>
                  <a:pt x="373176" y="0"/>
                </a:lnTo>
                <a:lnTo>
                  <a:pt x="646379" y="0"/>
                </a:lnTo>
                <a:lnTo>
                  <a:pt x="882954" y="136601"/>
                </a:lnTo>
                <a:lnTo>
                  <a:pt x="1019556" y="373176"/>
                </a:lnTo>
                <a:lnTo>
                  <a:pt x="1019556" y="646379"/>
                </a:lnTo>
                <a:lnTo>
                  <a:pt x="882954" y="882954"/>
                </a:lnTo>
                <a:lnTo>
                  <a:pt x="646379" y="1019556"/>
                </a:lnTo>
                <a:lnTo>
                  <a:pt x="373176" y="1019556"/>
                </a:lnTo>
                <a:lnTo>
                  <a:pt x="136601" y="882954"/>
                </a:lnTo>
                <a:lnTo>
                  <a:pt x="0" y="646379"/>
                </a:lnTo>
                <a:lnTo>
                  <a:pt x="0" y="373176"/>
                </a:lnTo>
                <a:close/>
              </a:path>
            </a:pathLst>
          </a:custGeom>
          <a:ln w="38100">
            <a:solidFill>
              <a:srgbClr val="BCC5D4"/>
            </a:solidFill>
          </a:ln>
        </p:spPr>
        <p:txBody>
          <a:bodyPr wrap="square" lIns="0" tIns="0" rIns="0" bIns="0" rtlCol="0"/>
          <a:lstStyle/>
          <a:p>
            <a:pPr defTabSz="682989">
              <a:defRPr/>
            </a:pPr>
            <a:endParaRPr lang="en-US" sz="1344" dirty="0">
              <a:latin typeface="Calibri"/>
            </a:endParaRPr>
          </a:p>
        </p:txBody>
      </p:sp>
      <p:sp>
        <p:nvSpPr>
          <p:cNvPr id="113" name="object 20">
            <a:extLst>
              <a:ext uri="{FF2B5EF4-FFF2-40B4-BE49-F238E27FC236}">
                <a16:creationId xmlns:a16="http://schemas.microsoft.com/office/drawing/2014/main" id="{EF702FC2-8CBF-E023-B19E-ADF09067E0FD}"/>
              </a:ext>
            </a:extLst>
          </p:cNvPr>
          <p:cNvSpPr/>
          <p:nvPr/>
        </p:nvSpPr>
        <p:spPr>
          <a:xfrm>
            <a:off x="2652122" y="2612322"/>
            <a:ext cx="539289" cy="244743"/>
          </a:xfrm>
          <a:custGeom>
            <a:avLst/>
            <a:gdLst/>
            <a:ahLst/>
            <a:cxnLst/>
            <a:rect l="l" t="t" r="r" b="b"/>
            <a:pathLst>
              <a:path w="721995" h="327660">
                <a:moveTo>
                  <a:pt x="365696" y="315671"/>
                </a:moveTo>
                <a:lnTo>
                  <a:pt x="364947" y="310794"/>
                </a:lnTo>
                <a:lnTo>
                  <a:pt x="361581" y="307428"/>
                </a:lnTo>
                <a:lnTo>
                  <a:pt x="344004" y="307428"/>
                </a:lnTo>
                <a:lnTo>
                  <a:pt x="344004" y="274091"/>
                </a:lnTo>
                <a:lnTo>
                  <a:pt x="344004" y="188315"/>
                </a:lnTo>
                <a:lnTo>
                  <a:pt x="342633" y="174752"/>
                </a:lnTo>
                <a:lnTo>
                  <a:pt x="338632" y="161823"/>
                </a:lnTo>
                <a:lnTo>
                  <a:pt x="332181" y="149860"/>
                </a:lnTo>
                <a:lnTo>
                  <a:pt x="328307" y="145161"/>
                </a:lnTo>
                <a:lnTo>
                  <a:pt x="328307" y="232892"/>
                </a:lnTo>
                <a:lnTo>
                  <a:pt x="328307" y="258356"/>
                </a:lnTo>
                <a:lnTo>
                  <a:pt x="327939" y="258356"/>
                </a:lnTo>
                <a:lnTo>
                  <a:pt x="327939" y="274091"/>
                </a:lnTo>
                <a:lnTo>
                  <a:pt x="327939" y="307428"/>
                </a:lnTo>
                <a:lnTo>
                  <a:pt x="290918" y="307428"/>
                </a:lnTo>
                <a:lnTo>
                  <a:pt x="290918" y="274091"/>
                </a:lnTo>
                <a:lnTo>
                  <a:pt x="327939" y="274091"/>
                </a:lnTo>
                <a:lnTo>
                  <a:pt x="327939" y="258356"/>
                </a:lnTo>
                <a:lnTo>
                  <a:pt x="275209" y="258356"/>
                </a:lnTo>
                <a:lnTo>
                  <a:pt x="275209" y="274091"/>
                </a:lnTo>
                <a:lnTo>
                  <a:pt x="275209" y="307428"/>
                </a:lnTo>
                <a:lnTo>
                  <a:pt x="87871" y="307428"/>
                </a:lnTo>
                <a:lnTo>
                  <a:pt x="87871" y="274091"/>
                </a:lnTo>
                <a:lnTo>
                  <a:pt x="275209" y="274091"/>
                </a:lnTo>
                <a:lnTo>
                  <a:pt x="275209" y="258356"/>
                </a:lnTo>
                <a:lnTo>
                  <a:pt x="72161" y="258356"/>
                </a:lnTo>
                <a:lnTo>
                  <a:pt x="72161" y="274091"/>
                </a:lnTo>
                <a:lnTo>
                  <a:pt x="72161" y="307428"/>
                </a:lnTo>
                <a:lnTo>
                  <a:pt x="33655" y="307428"/>
                </a:lnTo>
                <a:lnTo>
                  <a:pt x="33655" y="274091"/>
                </a:lnTo>
                <a:lnTo>
                  <a:pt x="72161" y="274091"/>
                </a:lnTo>
                <a:lnTo>
                  <a:pt x="72161" y="258356"/>
                </a:lnTo>
                <a:lnTo>
                  <a:pt x="33655" y="258356"/>
                </a:lnTo>
                <a:lnTo>
                  <a:pt x="33655" y="232892"/>
                </a:lnTo>
                <a:lnTo>
                  <a:pt x="100203" y="232892"/>
                </a:lnTo>
                <a:lnTo>
                  <a:pt x="103200" y="236639"/>
                </a:lnTo>
                <a:lnTo>
                  <a:pt x="107315" y="239255"/>
                </a:lnTo>
                <a:lnTo>
                  <a:pt x="113296" y="239636"/>
                </a:lnTo>
                <a:lnTo>
                  <a:pt x="184721" y="240004"/>
                </a:lnTo>
                <a:lnTo>
                  <a:pt x="239509" y="239852"/>
                </a:lnTo>
                <a:lnTo>
                  <a:pt x="253898" y="239636"/>
                </a:lnTo>
                <a:lnTo>
                  <a:pt x="259499" y="239636"/>
                </a:lnTo>
                <a:lnTo>
                  <a:pt x="263613" y="237007"/>
                </a:lnTo>
                <a:lnTo>
                  <a:pt x="266979" y="232892"/>
                </a:lnTo>
                <a:lnTo>
                  <a:pt x="328307" y="232892"/>
                </a:lnTo>
                <a:lnTo>
                  <a:pt x="328307" y="145161"/>
                </a:lnTo>
                <a:lnTo>
                  <a:pt x="327558" y="144246"/>
                </a:lnTo>
                <a:lnTo>
                  <a:pt x="327558" y="183438"/>
                </a:lnTo>
                <a:lnTo>
                  <a:pt x="327558" y="199174"/>
                </a:lnTo>
                <a:lnTo>
                  <a:pt x="327558" y="216776"/>
                </a:lnTo>
                <a:lnTo>
                  <a:pt x="275209" y="216776"/>
                </a:lnTo>
                <a:lnTo>
                  <a:pt x="275958" y="215290"/>
                </a:lnTo>
                <a:lnTo>
                  <a:pt x="275958" y="214541"/>
                </a:lnTo>
                <a:lnTo>
                  <a:pt x="278193" y="209296"/>
                </a:lnTo>
                <a:lnTo>
                  <a:pt x="281940" y="199174"/>
                </a:lnTo>
                <a:lnTo>
                  <a:pt x="327558" y="199174"/>
                </a:lnTo>
                <a:lnTo>
                  <a:pt x="327558" y="183438"/>
                </a:lnTo>
                <a:lnTo>
                  <a:pt x="284924" y="183438"/>
                </a:lnTo>
                <a:lnTo>
                  <a:pt x="259880" y="213042"/>
                </a:lnTo>
                <a:lnTo>
                  <a:pt x="255765" y="223520"/>
                </a:lnTo>
                <a:lnTo>
                  <a:pt x="184581" y="223812"/>
                </a:lnTo>
                <a:lnTo>
                  <a:pt x="112179" y="223520"/>
                </a:lnTo>
                <a:lnTo>
                  <a:pt x="109931" y="216776"/>
                </a:lnTo>
                <a:lnTo>
                  <a:pt x="105016" y="203263"/>
                </a:lnTo>
                <a:lnTo>
                  <a:pt x="102577" y="199021"/>
                </a:lnTo>
                <a:lnTo>
                  <a:pt x="99606" y="193840"/>
                </a:lnTo>
                <a:lnTo>
                  <a:pt x="93472" y="188620"/>
                </a:lnTo>
                <a:lnTo>
                  <a:pt x="93472" y="216776"/>
                </a:lnTo>
                <a:lnTo>
                  <a:pt x="34391" y="216776"/>
                </a:lnTo>
                <a:lnTo>
                  <a:pt x="34023" y="199174"/>
                </a:lnTo>
                <a:lnTo>
                  <a:pt x="71869" y="199097"/>
                </a:lnTo>
                <a:lnTo>
                  <a:pt x="77774" y="199174"/>
                </a:lnTo>
                <a:lnTo>
                  <a:pt x="86372" y="199555"/>
                </a:lnTo>
                <a:lnTo>
                  <a:pt x="89369" y="204800"/>
                </a:lnTo>
                <a:lnTo>
                  <a:pt x="93472" y="216776"/>
                </a:lnTo>
                <a:lnTo>
                  <a:pt x="93472" y="188620"/>
                </a:lnTo>
                <a:lnTo>
                  <a:pt x="91033" y="186537"/>
                </a:lnTo>
                <a:lnTo>
                  <a:pt x="78143" y="183438"/>
                </a:lnTo>
                <a:lnTo>
                  <a:pt x="68211" y="183286"/>
                </a:lnTo>
                <a:lnTo>
                  <a:pt x="34772" y="183438"/>
                </a:lnTo>
                <a:lnTo>
                  <a:pt x="36322" y="174129"/>
                </a:lnTo>
                <a:lnTo>
                  <a:pt x="39306" y="165379"/>
                </a:lnTo>
                <a:lnTo>
                  <a:pt x="43764" y="157327"/>
                </a:lnTo>
                <a:lnTo>
                  <a:pt x="49733" y="150114"/>
                </a:lnTo>
                <a:lnTo>
                  <a:pt x="61696" y="138125"/>
                </a:lnTo>
                <a:lnTo>
                  <a:pt x="74701" y="144640"/>
                </a:lnTo>
                <a:lnTo>
                  <a:pt x="88379" y="149466"/>
                </a:lnTo>
                <a:lnTo>
                  <a:pt x="102552" y="152450"/>
                </a:lnTo>
                <a:lnTo>
                  <a:pt x="117030" y="153479"/>
                </a:lnTo>
                <a:lnTo>
                  <a:pt x="244551" y="153479"/>
                </a:lnTo>
                <a:lnTo>
                  <a:pt x="259181" y="152450"/>
                </a:lnTo>
                <a:lnTo>
                  <a:pt x="273342" y="149466"/>
                </a:lnTo>
                <a:lnTo>
                  <a:pt x="286931" y="144640"/>
                </a:lnTo>
                <a:lnTo>
                  <a:pt x="299885" y="138125"/>
                </a:lnTo>
                <a:lnTo>
                  <a:pt x="312229" y="150482"/>
                </a:lnTo>
                <a:lnTo>
                  <a:pt x="318249" y="157695"/>
                </a:lnTo>
                <a:lnTo>
                  <a:pt x="322834" y="165709"/>
                </a:lnTo>
                <a:lnTo>
                  <a:pt x="325945" y="174345"/>
                </a:lnTo>
                <a:lnTo>
                  <a:pt x="327558" y="183438"/>
                </a:lnTo>
                <a:lnTo>
                  <a:pt x="327558" y="144246"/>
                </a:lnTo>
                <a:lnTo>
                  <a:pt x="323443" y="139242"/>
                </a:lnTo>
                <a:lnTo>
                  <a:pt x="322326" y="138125"/>
                </a:lnTo>
                <a:lnTo>
                  <a:pt x="321576" y="137375"/>
                </a:lnTo>
                <a:lnTo>
                  <a:pt x="320078" y="135877"/>
                </a:lnTo>
                <a:lnTo>
                  <a:pt x="326809" y="135128"/>
                </a:lnTo>
                <a:lnTo>
                  <a:pt x="332790" y="133629"/>
                </a:lnTo>
                <a:lnTo>
                  <a:pt x="337019" y="129794"/>
                </a:lnTo>
                <a:lnTo>
                  <a:pt x="344004" y="123507"/>
                </a:lnTo>
                <a:lnTo>
                  <a:pt x="344004" y="121640"/>
                </a:lnTo>
                <a:lnTo>
                  <a:pt x="344004" y="108153"/>
                </a:lnTo>
                <a:lnTo>
                  <a:pt x="344004" y="96164"/>
                </a:lnTo>
                <a:lnTo>
                  <a:pt x="340639" y="92798"/>
                </a:lnTo>
                <a:lnTo>
                  <a:pt x="327926" y="92798"/>
                </a:lnTo>
                <a:lnTo>
                  <a:pt x="327926" y="108534"/>
                </a:lnTo>
                <a:lnTo>
                  <a:pt x="327926" y="114896"/>
                </a:lnTo>
                <a:lnTo>
                  <a:pt x="327558" y="116395"/>
                </a:lnTo>
                <a:lnTo>
                  <a:pt x="326440" y="117894"/>
                </a:lnTo>
                <a:lnTo>
                  <a:pt x="324942" y="119024"/>
                </a:lnTo>
                <a:lnTo>
                  <a:pt x="320459" y="121640"/>
                </a:lnTo>
                <a:lnTo>
                  <a:pt x="307733" y="119773"/>
                </a:lnTo>
                <a:lnTo>
                  <a:pt x="305117" y="108534"/>
                </a:lnTo>
                <a:lnTo>
                  <a:pt x="327926" y="108534"/>
                </a:lnTo>
                <a:lnTo>
                  <a:pt x="327926" y="92798"/>
                </a:lnTo>
                <a:lnTo>
                  <a:pt x="301383" y="92798"/>
                </a:lnTo>
                <a:lnTo>
                  <a:pt x="293154" y="57797"/>
                </a:lnTo>
                <a:lnTo>
                  <a:pt x="293154" y="124256"/>
                </a:lnTo>
                <a:lnTo>
                  <a:pt x="281940" y="129946"/>
                </a:lnTo>
                <a:lnTo>
                  <a:pt x="270205" y="134061"/>
                </a:lnTo>
                <a:lnTo>
                  <a:pt x="257975" y="136550"/>
                </a:lnTo>
                <a:lnTo>
                  <a:pt x="245287" y="137375"/>
                </a:lnTo>
                <a:lnTo>
                  <a:pt x="117779" y="137375"/>
                </a:lnTo>
                <a:lnTo>
                  <a:pt x="105257" y="136486"/>
                </a:lnTo>
                <a:lnTo>
                  <a:pt x="93014" y="133908"/>
                </a:lnTo>
                <a:lnTo>
                  <a:pt x="81191" y="129794"/>
                </a:lnTo>
                <a:lnTo>
                  <a:pt x="69926" y="124256"/>
                </a:lnTo>
                <a:lnTo>
                  <a:pt x="71691" y="116776"/>
                </a:lnTo>
                <a:lnTo>
                  <a:pt x="74866" y="103289"/>
                </a:lnTo>
                <a:lnTo>
                  <a:pt x="85623" y="57594"/>
                </a:lnTo>
                <a:lnTo>
                  <a:pt x="113906" y="25006"/>
                </a:lnTo>
                <a:lnTo>
                  <a:pt x="120662" y="24472"/>
                </a:lnTo>
                <a:lnTo>
                  <a:pt x="126758" y="24625"/>
                </a:lnTo>
                <a:lnTo>
                  <a:pt x="236321" y="24625"/>
                </a:lnTo>
                <a:lnTo>
                  <a:pt x="270954" y="43268"/>
                </a:lnTo>
                <a:lnTo>
                  <a:pt x="293154" y="124256"/>
                </a:lnTo>
                <a:lnTo>
                  <a:pt x="293154" y="57797"/>
                </a:lnTo>
                <a:lnTo>
                  <a:pt x="276910" y="24472"/>
                </a:lnTo>
                <a:lnTo>
                  <a:pt x="272592" y="19380"/>
                </a:lnTo>
                <a:lnTo>
                  <a:pt x="262496" y="13169"/>
                </a:lnTo>
                <a:lnTo>
                  <a:pt x="252437" y="10121"/>
                </a:lnTo>
                <a:lnTo>
                  <a:pt x="244335" y="9271"/>
                </a:lnTo>
                <a:lnTo>
                  <a:pt x="243293" y="9169"/>
                </a:lnTo>
                <a:lnTo>
                  <a:pt x="235940" y="9271"/>
                </a:lnTo>
                <a:lnTo>
                  <a:pt x="127127" y="9271"/>
                </a:lnTo>
                <a:lnTo>
                  <a:pt x="90119" y="19380"/>
                </a:lnTo>
                <a:lnTo>
                  <a:pt x="70294" y="54216"/>
                </a:lnTo>
                <a:lnTo>
                  <a:pt x="62445" y="87934"/>
                </a:lnTo>
                <a:lnTo>
                  <a:pt x="58331" y="87934"/>
                </a:lnTo>
                <a:lnTo>
                  <a:pt x="58331" y="103289"/>
                </a:lnTo>
                <a:lnTo>
                  <a:pt x="55714" y="114528"/>
                </a:lnTo>
                <a:lnTo>
                  <a:pt x="55333" y="114528"/>
                </a:lnTo>
                <a:lnTo>
                  <a:pt x="42621" y="116776"/>
                </a:lnTo>
                <a:lnTo>
                  <a:pt x="37757" y="114147"/>
                </a:lnTo>
                <a:lnTo>
                  <a:pt x="34772" y="111899"/>
                </a:lnTo>
                <a:lnTo>
                  <a:pt x="34772" y="103289"/>
                </a:lnTo>
                <a:lnTo>
                  <a:pt x="58331" y="103289"/>
                </a:lnTo>
                <a:lnTo>
                  <a:pt x="58331" y="87934"/>
                </a:lnTo>
                <a:lnTo>
                  <a:pt x="22428" y="87934"/>
                </a:lnTo>
                <a:lnTo>
                  <a:pt x="19062" y="91300"/>
                </a:lnTo>
                <a:lnTo>
                  <a:pt x="18999" y="111899"/>
                </a:lnTo>
                <a:lnTo>
                  <a:pt x="18694" y="118643"/>
                </a:lnTo>
                <a:lnTo>
                  <a:pt x="26174" y="125006"/>
                </a:lnTo>
                <a:lnTo>
                  <a:pt x="31026" y="129501"/>
                </a:lnTo>
                <a:lnTo>
                  <a:pt x="38138" y="131381"/>
                </a:lnTo>
                <a:lnTo>
                  <a:pt x="46736" y="131749"/>
                </a:lnTo>
                <a:lnTo>
                  <a:pt x="39255" y="139242"/>
                </a:lnTo>
                <a:lnTo>
                  <a:pt x="30518" y="149872"/>
                </a:lnTo>
                <a:lnTo>
                  <a:pt x="18732" y="188315"/>
                </a:lnTo>
                <a:lnTo>
                  <a:pt x="18313" y="307797"/>
                </a:lnTo>
                <a:lnTo>
                  <a:pt x="3365" y="307797"/>
                </a:lnTo>
                <a:lnTo>
                  <a:pt x="0" y="311175"/>
                </a:lnTo>
                <a:lnTo>
                  <a:pt x="0" y="320167"/>
                </a:lnTo>
                <a:lnTo>
                  <a:pt x="3365" y="323532"/>
                </a:lnTo>
                <a:lnTo>
                  <a:pt x="362331" y="323532"/>
                </a:lnTo>
                <a:lnTo>
                  <a:pt x="365696" y="320167"/>
                </a:lnTo>
                <a:lnTo>
                  <a:pt x="365696" y="315671"/>
                </a:lnTo>
                <a:close/>
              </a:path>
              <a:path w="721995" h="327660">
                <a:moveTo>
                  <a:pt x="709663" y="279463"/>
                </a:moveTo>
                <a:lnTo>
                  <a:pt x="709104" y="276085"/>
                </a:lnTo>
                <a:lnTo>
                  <a:pt x="706856" y="274396"/>
                </a:lnTo>
                <a:lnTo>
                  <a:pt x="705167" y="272707"/>
                </a:lnTo>
                <a:lnTo>
                  <a:pt x="696226" y="263715"/>
                </a:lnTo>
                <a:lnTo>
                  <a:pt x="704443" y="254152"/>
                </a:lnTo>
                <a:lnTo>
                  <a:pt x="706856" y="251345"/>
                </a:lnTo>
                <a:lnTo>
                  <a:pt x="708545" y="249097"/>
                </a:lnTo>
                <a:lnTo>
                  <a:pt x="709104" y="246278"/>
                </a:lnTo>
                <a:lnTo>
                  <a:pt x="706856" y="241782"/>
                </a:lnTo>
                <a:lnTo>
                  <a:pt x="704621" y="240093"/>
                </a:lnTo>
                <a:lnTo>
                  <a:pt x="687273" y="240093"/>
                </a:lnTo>
                <a:lnTo>
                  <a:pt x="687273" y="254152"/>
                </a:lnTo>
                <a:lnTo>
                  <a:pt x="682231" y="260337"/>
                </a:lnTo>
                <a:lnTo>
                  <a:pt x="679437" y="262026"/>
                </a:lnTo>
                <a:lnTo>
                  <a:pt x="679996" y="266522"/>
                </a:lnTo>
                <a:lnTo>
                  <a:pt x="686155" y="272707"/>
                </a:lnTo>
                <a:lnTo>
                  <a:pt x="652018" y="272707"/>
                </a:lnTo>
                <a:lnTo>
                  <a:pt x="652018" y="254152"/>
                </a:lnTo>
                <a:lnTo>
                  <a:pt x="687273" y="254152"/>
                </a:lnTo>
                <a:lnTo>
                  <a:pt x="687273" y="240093"/>
                </a:lnTo>
                <a:lnTo>
                  <a:pt x="641375" y="240093"/>
                </a:lnTo>
                <a:lnTo>
                  <a:pt x="638581" y="242912"/>
                </a:lnTo>
                <a:lnTo>
                  <a:pt x="638581" y="324446"/>
                </a:lnTo>
                <a:lnTo>
                  <a:pt x="641375" y="327253"/>
                </a:lnTo>
                <a:lnTo>
                  <a:pt x="649211" y="327253"/>
                </a:lnTo>
                <a:lnTo>
                  <a:pt x="652018" y="324446"/>
                </a:lnTo>
                <a:lnTo>
                  <a:pt x="652018" y="285648"/>
                </a:lnTo>
                <a:lnTo>
                  <a:pt x="705180" y="285648"/>
                </a:lnTo>
                <a:lnTo>
                  <a:pt x="707415" y="283959"/>
                </a:lnTo>
                <a:lnTo>
                  <a:pt x="709663" y="279463"/>
                </a:lnTo>
                <a:close/>
              </a:path>
              <a:path w="721995" h="327660">
                <a:moveTo>
                  <a:pt x="721969" y="92214"/>
                </a:moveTo>
                <a:lnTo>
                  <a:pt x="716572" y="65595"/>
                </a:lnTo>
                <a:lnTo>
                  <a:pt x="701890" y="43776"/>
                </a:lnTo>
                <a:lnTo>
                  <a:pt x="692061" y="37109"/>
                </a:lnTo>
                <a:lnTo>
                  <a:pt x="680173" y="29032"/>
                </a:lnTo>
                <a:lnTo>
                  <a:pt x="653694" y="23609"/>
                </a:lnTo>
                <a:lnTo>
                  <a:pt x="455561" y="23609"/>
                </a:lnTo>
                <a:lnTo>
                  <a:pt x="451802" y="14224"/>
                </a:lnTo>
                <a:lnTo>
                  <a:pt x="451142" y="13487"/>
                </a:lnTo>
                <a:lnTo>
                  <a:pt x="445198" y="6743"/>
                </a:lnTo>
                <a:lnTo>
                  <a:pt x="443255" y="5638"/>
                </a:lnTo>
                <a:lnTo>
                  <a:pt x="443255" y="20802"/>
                </a:lnTo>
                <a:lnTo>
                  <a:pt x="443255" y="39916"/>
                </a:lnTo>
                <a:lnTo>
                  <a:pt x="435978" y="47231"/>
                </a:lnTo>
                <a:lnTo>
                  <a:pt x="417512" y="47231"/>
                </a:lnTo>
                <a:lnTo>
                  <a:pt x="409676" y="39916"/>
                </a:lnTo>
                <a:lnTo>
                  <a:pt x="409676" y="21361"/>
                </a:lnTo>
                <a:lnTo>
                  <a:pt x="416953" y="13487"/>
                </a:lnTo>
                <a:lnTo>
                  <a:pt x="435978" y="13487"/>
                </a:lnTo>
                <a:lnTo>
                  <a:pt x="443255" y="20802"/>
                </a:lnTo>
                <a:lnTo>
                  <a:pt x="443255" y="5638"/>
                </a:lnTo>
                <a:lnTo>
                  <a:pt x="436511" y="1790"/>
                </a:lnTo>
                <a:lnTo>
                  <a:pt x="426466" y="0"/>
                </a:lnTo>
                <a:lnTo>
                  <a:pt x="414655" y="2374"/>
                </a:lnTo>
                <a:lnTo>
                  <a:pt x="405053" y="8851"/>
                </a:lnTo>
                <a:lnTo>
                  <a:pt x="398589" y="18491"/>
                </a:lnTo>
                <a:lnTo>
                  <a:pt x="396240" y="30353"/>
                </a:lnTo>
                <a:lnTo>
                  <a:pt x="398589" y="42214"/>
                </a:lnTo>
                <a:lnTo>
                  <a:pt x="405053" y="51866"/>
                </a:lnTo>
                <a:lnTo>
                  <a:pt x="414655" y="58343"/>
                </a:lnTo>
                <a:lnTo>
                  <a:pt x="426466" y="60718"/>
                </a:lnTo>
                <a:lnTo>
                  <a:pt x="436753" y="58928"/>
                </a:lnTo>
                <a:lnTo>
                  <a:pt x="445414" y="53975"/>
                </a:lnTo>
                <a:lnTo>
                  <a:pt x="451231" y="47231"/>
                </a:lnTo>
                <a:lnTo>
                  <a:pt x="451878" y="46482"/>
                </a:lnTo>
                <a:lnTo>
                  <a:pt x="455561" y="37109"/>
                </a:lnTo>
                <a:lnTo>
                  <a:pt x="653694" y="37109"/>
                </a:lnTo>
                <a:lnTo>
                  <a:pt x="675005" y="41452"/>
                </a:lnTo>
                <a:lnTo>
                  <a:pt x="692442" y="53276"/>
                </a:lnTo>
                <a:lnTo>
                  <a:pt x="704215" y="70789"/>
                </a:lnTo>
                <a:lnTo>
                  <a:pt x="708545" y="92214"/>
                </a:lnTo>
                <a:lnTo>
                  <a:pt x="704215" y="113639"/>
                </a:lnTo>
                <a:lnTo>
                  <a:pt x="692442" y="131152"/>
                </a:lnTo>
                <a:lnTo>
                  <a:pt x="675005" y="142976"/>
                </a:lnTo>
                <a:lnTo>
                  <a:pt x="653694" y="147320"/>
                </a:lnTo>
                <a:lnTo>
                  <a:pt x="541756" y="147320"/>
                </a:lnTo>
                <a:lnTo>
                  <a:pt x="537997" y="137934"/>
                </a:lnTo>
                <a:lnTo>
                  <a:pt x="537832" y="137756"/>
                </a:lnTo>
                <a:lnTo>
                  <a:pt x="531393" y="130441"/>
                </a:lnTo>
                <a:lnTo>
                  <a:pt x="529437" y="129336"/>
                </a:lnTo>
                <a:lnTo>
                  <a:pt x="529437" y="145072"/>
                </a:lnTo>
                <a:lnTo>
                  <a:pt x="529437" y="163626"/>
                </a:lnTo>
                <a:lnTo>
                  <a:pt x="522173" y="171500"/>
                </a:lnTo>
                <a:lnTo>
                  <a:pt x="503135" y="171500"/>
                </a:lnTo>
                <a:lnTo>
                  <a:pt x="495858" y="164185"/>
                </a:lnTo>
                <a:lnTo>
                  <a:pt x="495858" y="160807"/>
                </a:lnTo>
                <a:lnTo>
                  <a:pt x="495858" y="145072"/>
                </a:lnTo>
                <a:lnTo>
                  <a:pt x="503135" y="137756"/>
                </a:lnTo>
                <a:lnTo>
                  <a:pt x="521601" y="137756"/>
                </a:lnTo>
                <a:lnTo>
                  <a:pt x="529437" y="145072"/>
                </a:lnTo>
                <a:lnTo>
                  <a:pt x="529437" y="129336"/>
                </a:lnTo>
                <a:lnTo>
                  <a:pt x="522706" y="125488"/>
                </a:lnTo>
                <a:lnTo>
                  <a:pt x="512648" y="123698"/>
                </a:lnTo>
                <a:lnTo>
                  <a:pt x="502348" y="125488"/>
                </a:lnTo>
                <a:lnTo>
                  <a:pt x="493687" y="130441"/>
                </a:lnTo>
                <a:lnTo>
                  <a:pt x="487222" y="137934"/>
                </a:lnTo>
                <a:lnTo>
                  <a:pt x="483552" y="147320"/>
                </a:lnTo>
                <a:lnTo>
                  <a:pt x="466204" y="147320"/>
                </a:lnTo>
                <a:lnTo>
                  <a:pt x="439293" y="152755"/>
                </a:lnTo>
                <a:lnTo>
                  <a:pt x="417220" y="167627"/>
                </a:lnTo>
                <a:lnTo>
                  <a:pt x="402285" y="189776"/>
                </a:lnTo>
                <a:lnTo>
                  <a:pt x="396798" y="217043"/>
                </a:lnTo>
                <a:lnTo>
                  <a:pt x="401713" y="242544"/>
                </a:lnTo>
                <a:lnTo>
                  <a:pt x="415201" y="263779"/>
                </a:lnTo>
                <a:lnTo>
                  <a:pt x="435279" y="278803"/>
                </a:lnTo>
                <a:lnTo>
                  <a:pt x="460044" y="285648"/>
                </a:lnTo>
                <a:lnTo>
                  <a:pt x="463804" y="295109"/>
                </a:lnTo>
                <a:lnTo>
                  <a:pt x="470458" y="302793"/>
                </a:lnTo>
                <a:lnTo>
                  <a:pt x="479323" y="307949"/>
                </a:lnTo>
                <a:lnTo>
                  <a:pt x="489712" y="309829"/>
                </a:lnTo>
                <a:lnTo>
                  <a:pt x="499999" y="308038"/>
                </a:lnTo>
                <a:lnTo>
                  <a:pt x="508660" y="303085"/>
                </a:lnTo>
                <a:lnTo>
                  <a:pt x="514007" y="296887"/>
                </a:lnTo>
                <a:lnTo>
                  <a:pt x="515124" y="295592"/>
                </a:lnTo>
                <a:lnTo>
                  <a:pt x="518807" y="286207"/>
                </a:lnTo>
                <a:lnTo>
                  <a:pt x="610031" y="286207"/>
                </a:lnTo>
                <a:lnTo>
                  <a:pt x="612838" y="283400"/>
                </a:lnTo>
                <a:lnTo>
                  <a:pt x="612838" y="275526"/>
                </a:lnTo>
                <a:lnTo>
                  <a:pt x="610031" y="273278"/>
                </a:lnTo>
                <a:lnTo>
                  <a:pt x="518248" y="273278"/>
                </a:lnTo>
                <a:lnTo>
                  <a:pt x="514489" y="263893"/>
                </a:lnTo>
                <a:lnTo>
                  <a:pt x="513842" y="263156"/>
                </a:lnTo>
                <a:lnTo>
                  <a:pt x="507885" y="256400"/>
                </a:lnTo>
                <a:lnTo>
                  <a:pt x="505942" y="255295"/>
                </a:lnTo>
                <a:lnTo>
                  <a:pt x="505942" y="270459"/>
                </a:lnTo>
                <a:lnTo>
                  <a:pt x="505942" y="289013"/>
                </a:lnTo>
                <a:lnTo>
                  <a:pt x="498106" y="296887"/>
                </a:lnTo>
                <a:lnTo>
                  <a:pt x="480187" y="296887"/>
                </a:lnTo>
                <a:lnTo>
                  <a:pt x="472351" y="289585"/>
                </a:lnTo>
                <a:lnTo>
                  <a:pt x="472351" y="272707"/>
                </a:lnTo>
                <a:lnTo>
                  <a:pt x="472351" y="271030"/>
                </a:lnTo>
                <a:lnTo>
                  <a:pt x="479628" y="263156"/>
                </a:lnTo>
                <a:lnTo>
                  <a:pt x="498106" y="263156"/>
                </a:lnTo>
                <a:lnTo>
                  <a:pt x="505942" y="270459"/>
                </a:lnTo>
                <a:lnTo>
                  <a:pt x="505942" y="255295"/>
                </a:lnTo>
                <a:lnTo>
                  <a:pt x="499198" y="251447"/>
                </a:lnTo>
                <a:lnTo>
                  <a:pt x="489140" y="249656"/>
                </a:lnTo>
                <a:lnTo>
                  <a:pt x="479158" y="251358"/>
                </a:lnTo>
                <a:lnTo>
                  <a:pt x="470598" y="256120"/>
                </a:lnTo>
                <a:lnTo>
                  <a:pt x="464032" y="263410"/>
                </a:lnTo>
                <a:lnTo>
                  <a:pt x="460044" y="272707"/>
                </a:lnTo>
                <a:lnTo>
                  <a:pt x="440448" y="266941"/>
                </a:lnTo>
                <a:lnTo>
                  <a:pt x="424637" y="254787"/>
                </a:lnTo>
                <a:lnTo>
                  <a:pt x="414070" y="237680"/>
                </a:lnTo>
                <a:lnTo>
                  <a:pt x="410235" y="217043"/>
                </a:lnTo>
                <a:lnTo>
                  <a:pt x="414642" y="195211"/>
                </a:lnTo>
                <a:lnTo>
                  <a:pt x="426669" y="177330"/>
                </a:lnTo>
                <a:lnTo>
                  <a:pt x="444461" y="165239"/>
                </a:lnTo>
                <a:lnTo>
                  <a:pt x="466204" y="160807"/>
                </a:lnTo>
                <a:lnTo>
                  <a:pt x="483552" y="160807"/>
                </a:lnTo>
                <a:lnTo>
                  <a:pt x="487299" y="170192"/>
                </a:lnTo>
                <a:lnTo>
                  <a:pt x="493903" y="177685"/>
                </a:lnTo>
                <a:lnTo>
                  <a:pt x="502589" y="182638"/>
                </a:lnTo>
                <a:lnTo>
                  <a:pt x="512648" y="184429"/>
                </a:lnTo>
                <a:lnTo>
                  <a:pt x="522935" y="182638"/>
                </a:lnTo>
                <a:lnTo>
                  <a:pt x="531609" y="177685"/>
                </a:lnTo>
                <a:lnTo>
                  <a:pt x="536943" y="171500"/>
                </a:lnTo>
                <a:lnTo>
                  <a:pt x="538073" y="170192"/>
                </a:lnTo>
                <a:lnTo>
                  <a:pt x="541756" y="160807"/>
                </a:lnTo>
                <a:lnTo>
                  <a:pt x="653694" y="160807"/>
                </a:lnTo>
                <a:lnTo>
                  <a:pt x="680173" y="155384"/>
                </a:lnTo>
                <a:lnTo>
                  <a:pt x="692048" y="147320"/>
                </a:lnTo>
                <a:lnTo>
                  <a:pt x="701890" y="140639"/>
                </a:lnTo>
                <a:lnTo>
                  <a:pt x="716572" y="118821"/>
                </a:lnTo>
                <a:lnTo>
                  <a:pt x="721969" y="92214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pPr defTabSz="682989">
              <a:defRPr/>
            </a:pPr>
            <a:endParaRPr lang="en-US" sz="1344" dirty="0">
              <a:latin typeface="Calibri"/>
            </a:endParaRPr>
          </a:p>
        </p:txBody>
      </p:sp>
      <p:pic>
        <p:nvPicPr>
          <p:cNvPr id="114" name="object 21">
            <a:extLst>
              <a:ext uri="{FF2B5EF4-FFF2-40B4-BE49-F238E27FC236}">
                <a16:creationId xmlns:a16="http://schemas.microsoft.com/office/drawing/2014/main" id="{12D099B4-4EF5-C453-3DF0-D89A4F19A1E3}"/>
              </a:ext>
            </a:extLst>
          </p:cNvPr>
          <p:cNvPicPr/>
          <p:nvPr/>
        </p:nvPicPr>
        <p:blipFill>
          <a:blip r:embed="rId10" cstate="print"/>
          <a:stretch>
            <a:fillRect/>
          </a:stretch>
        </p:blipFill>
        <p:spPr>
          <a:xfrm>
            <a:off x="2832705" y="2424269"/>
            <a:ext cx="153306" cy="148802"/>
          </a:xfrm>
          <a:prstGeom prst="rect">
            <a:avLst/>
          </a:prstGeom>
        </p:spPr>
      </p:pic>
      <p:pic>
        <p:nvPicPr>
          <p:cNvPr id="115" name="object 22">
            <a:extLst>
              <a:ext uri="{FF2B5EF4-FFF2-40B4-BE49-F238E27FC236}">
                <a16:creationId xmlns:a16="http://schemas.microsoft.com/office/drawing/2014/main" id="{4109F9A5-9441-450A-A60D-080E4039C51A}"/>
              </a:ext>
            </a:extLst>
          </p:cNvPr>
          <p:cNvPicPr/>
          <p:nvPr/>
        </p:nvPicPr>
        <p:blipFill>
          <a:blip r:embed="rId11" cstate="print"/>
          <a:stretch>
            <a:fillRect/>
          </a:stretch>
        </p:blipFill>
        <p:spPr>
          <a:xfrm>
            <a:off x="2066980" y="1568569"/>
            <a:ext cx="111557" cy="111557"/>
          </a:xfrm>
          <a:prstGeom prst="rect">
            <a:avLst/>
          </a:prstGeom>
        </p:spPr>
      </p:pic>
      <p:sp>
        <p:nvSpPr>
          <p:cNvPr id="116" name="object 30">
            <a:extLst>
              <a:ext uri="{FF2B5EF4-FFF2-40B4-BE49-F238E27FC236}">
                <a16:creationId xmlns:a16="http://schemas.microsoft.com/office/drawing/2014/main" id="{CA2E63DD-8042-086E-7F7E-A2FE88B5679C}"/>
              </a:ext>
            </a:extLst>
          </p:cNvPr>
          <p:cNvSpPr txBox="1"/>
          <p:nvPr/>
        </p:nvSpPr>
        <p:spPr>
          <a:xfrm>
            <a:off x="436193" y="1437002"/>
            <a:ext cx="1671131" cy="317355"/>
          </a:xfrm>
          <a:prstGeom prst="rect">
            <a:avLst/>
          </a:prstGeom>
        </p:spPr>
        <p:txBody>
          <a:bodyPr vert="horz" wrap="square" lIns="0" tIns="9486" rIns="0" bIns="0" rtlCol="0">
            <a:spAutoFit/>
          </a:bodyPr>
          <a:lstStyle/>
          <a:p>
            <a:pPr marL="10434" marR="3794" indent="-1423" defTabSz="682989">
              <a:spcBef>
                <a:spcPts val="75"/>
              </a:spcBef>
              <a:defRPr/>
            </a:pPr>
            <a:r>
              <a:rPr lang="en-US" sz="1000" dirty="0">
                <a:latin typeface="Calibri"/>
                <a:cs typeface="Calibri"/>
              </a:rPr>
              <a:t>Group center of excellence on </a:t>
            </a:r>
            <a:r>
              <a:rPr lang="en-US" sz="1000" b="1" dirty="0">
                <a:latin typeface="Calibri"/>
                <a:cs typeface="Calibri"/>
              </a:rPr>
              <a:t>telematics</a:t>
            </a:r>
            <a:r>
              <a:rPr lang="en-US" sz="1000" dirty="0">
                <a:latin typeface="Calibri"/>
                <a:cs typeface="Calibri"/>
              </a:rPr>
              <a:t>, </a:t>
            </a:r>
            <a:r>
              <a:rPr lang="en-US" sz="1000" b="1" dirty="0">
                <a:latin typeface="Calibri"/>
                <a:cs typeface="Calibri"/>
              </a:rPr>
              <a:t>IoT </a:t>
            </a:r>
            <a:r>
              <a:rPr lang="en-US" sz="1000" dirty="0">
                <a:latin typeface="Calibri"/>
                <a:cs typeface="Calibri"/>
              </a:rPr>
              <a:t>and </a:t>
            </a:r>
            <a:r>
              <a:rPr lang="en-US" sz="1000" b="1" dirty="0">
                <a:latin typeface="Calibri"/>
                <a:cs typeface="Calibri"/>
              </a:rPr>
              <a:t>Big Data</a:t>
            </a:r>
          </a:p>
        </p:txBody>
      </p:sp>
      <p:sp>
        <p:nvSpPr>
          <p:cNvPr id="117" name="object 33">
            <a:extLst>
              <a:ext uri="{FF2B5EF4-FFF2-40B4-BE49-F238E27FC236}">
                <a16:creationId xmlns:a16="http://schemas.microsoft.com/office/drawing/2014/main" id="{A97E6D05-B203-AA83-6A64-3EC354235DBF}"/>
              </a:ext>
            </a:extLst>
          </p:cNvPr>
          <p:cNvSpPr txBox="1"/>
          <p:nvPr/>
        </p:nvSpPr>
        <p:spPr>
          <a:xfrm>
            <a:off x="266213" y="3203588"/>
            <a:ext cx="1396049" cy="625132"/>
          </a:xfrm>
          <a:prstGeom prst="rect">
            <a:avLst/>
          </a:prstGeom>
        </p:spPr>
        <p:txBody>
          <a:bodyPr vert="horz" wrap="square" lIns="0" tIns="9486" rIns="0" bIns="0" rtlCol="0">
            <a:spAutoFit/>
          </a:bodyPr>
          <a:lstStyle/>
          <a:p>
            <a:pPr algn="r" defTabSz="619323">
              <a:defRPr/>
            </a:pPr>
            <a:r>
              <a:rPr lang="en-US" sz="1000" b="1" spc="-4" dirty="0">
                <a:latin typeface="Calibri"/>
                <a:cs typeface="Calibri"/>
              </a:rPr>
              <a:t>Telematics devices</a:t>
            </a:r>
            <a:r>
              <a:rPr lang="en-US" sz="1000" spc="-4" dirty="0">
                <a:latin typeface="Calibri"/>
                <a:cs typeface="Calibri"/>
              </a:rPr>
              <a:t>, patented </a:t>
            </a:r>
            <a:r>
              <a:rPr lang="en-US" sz="1000" b="1" spc="-4" dirty="0">
                <a:latin typeface="Calibri"/>
                <a:cs typeface="Calibri"/>
              </a:rPr>
              <a:t>algorithms </a:t>
            </a:r>
            <a:r>
              <a:rPr lang="en-US" sz="1000" spc="-4" dirty="0">
                <a:latin typeface="Calibri"/>
                <a:cs typeface="Calibri"/>
              </a:rPr>
              <a:t>and </a:t>
            </a:r>
            <a:r>
              <a:rPr lang="en-US" sz="1000" b="1" spc="-4" dirty="0">
                <a:latin typeface="Calibri"/>
                <a:cs typeface="Calibri"/>
              </a:rPr>
              <a:t>UBI services </a:t>
            </a:r>
            <a:r>
              <a:rPr lang="en-US" sz="1000" spc="-4" dirty="0">
                <a:latin typeface="Calibri"/>
                <a:cs typeface="Calibri"/>
              </a:rPr>
              <a:t>for fleets</a:t>
            </a:r>
          </a:p>
          <a:p>
            <a:pPr algn="r" defTabSz="619323">
              <a:defRPr/>
            </a:pPr>
            <a:endParaRPr lang="en-US" sz="1000" spc="-4" dirty="0">
              <a:latin typeface="Calibri"/>
              <a:cs typeface="Calibri"/>
            </a:endParaRPr>
          </a:p>
        </p:txBody>
      </p:sp>
      <p:pic>
        <p:nvPicPr>
          <p:cNvPr id="118" name="object 37">
            <a:extLst>
              <a:ext uri="{FF2B5EF4-FFF2-40B4-BE49-F238E27FC236}">
                <a16:creationId xmlns:a16="http://schemas.microsoft.com/office/drawing/2014/main" id="{63F52902-9245-0A57-BCCF-915CA8C7CE58}"/>
              </a:ext>
            </a:extLst>
          </p:cNvPr>
          <p:cNvPicPr/>
          <p:nvPr/>
        </p:nvPicPr>
        <p:blipFill>
          <a:blip r:embed="rId11" cstate="print"/>
          <a:stretch>
            <a:fillRect/>
          </a:stretch>
        </p:blipFill>
        <p:spPr>
          <a:xfrm>
            <a:off x="1565958" y="2416701"/>
            <a:ext cx="111557" cy="111557"/>
          </a:xfrm>
          <a:prstGeom prst="rect">
            <a:avLst/>
          </a:prstGeom>
        </p:spPr>
      </p:pic>
      <p:pic>
        <p:nvPicPr>
          <p:cNvPr id="119" name="object 38">
            <a:extLst>
              <a:ext uri="{FF2B5EF4-FFF2-40B4-BE49-F238E27FC236}">
                <a16:creationId xmlns:a16="http://schemas.microsoft.com/office/drawing/2014/main" id="{3A173679-EDA7-54FC-DA3C-A938E079351E}"/>
              </a:ext>
            </a:extLst>
          </p:cNvPr>
          <p:cNvPicPr/>
          <p:nvPr/>
        </p:nvPicPr>
        <p:blipFill>
          <a:blip r:embed="rId12" cstate="print"/>
          <a:stretch>
            <a:fillRect/>
          </a:stretch>
        </p:blipFill>
        <p:spPr>
          <a:xfrm>
            <a:off x="1715494" y="3268056"/>
            <a:ext cx="111557" cy="111557"/>
          </a:xfrm>
          <a:prstGeom prst="rect">
            <a:avLst/>
          </a:prstGeom>
        </p:spPr>
      </p:pic>
      <p:pic>
        <p:nvPicPr>
          <p:cNvPr id="120" name="object 41">
            <a:extLst>
              <a:ext uri="{FF2B5EF4-FFF2-40B4-BE49-F238E27FC236}">
                <a16:creationId xmlns:a16="http://schemas.microsoft.com/office/drawing/2014/main" id="{68CFEE4B-3D66-A46C-7A25-3815DBD9BA90}"/>
              </a:ext>
            </a:extLst>
          </p:cNvPr>
          <p:cNvPicPr/>
          <p:nvPr/>
        </p:nvPicPr>
        <p:blipFill>
          <a:blip r:embed="rId13" cstate="print"/>
          <a:stretch>
            <a:fillRect/>
          </a:stretch>
        </p:blipFill>
        <p:spPr>
          <a:xfrm>
            <a:off x="3883220" y="3420082"/>
            <a:ext cx="111557" cy="111557"/>
          </a:xfrm>
          <a:prstGeom prst="rect">
            <a:avLst/>
          </a:prstGeom>
        </p:spPr>
      </p:pic>
      <p:sp>
        <p:nvSpPr>
          <p:cNvPr id="121" name="object 44">
            <a:extLst>
              <a:ext uri="{FF2B5EF4-FFF2-40B4-BE49-F238E27FC236}">
                <a16:creationId xmlns:a16="http://schemas.microsoft.com/office/drawing/2014/main" id="{50DCFE81-F717-3AC4-152C-D215EA149AF8}"/>
              </a:ext>
            </a:extLst>
          </p:cNvPr>
          <p:cNvSpPr txBox="1"/>
          <p:nvPr/>
        </p:nvSpPr>
        <p:spPr>
          <a:xfrm>
            <a:off x="3894039" y="1171004"/>
            <a:ext cx="1776155" cy="625132"/>
          </a:xfrm>
          <a:prstGeom prst="rect">
            <a:avLst/>
          </a:prstGeom>
        </p:spPr>
        <p:txBody>
          <a:bodyPr vert="horz" wrap="square" lIns="0" tIns="9486" rIns="0" bIns="0" rtlCol="0">
            <a:spAutoFit/>
          </a:bodyPr>
          <a:lstStyle/>
          <a:p>
            <a:pPr marL="9486" marR="3794" defTabSz="682989">
              <a:spcBef>
                <a:spcPts val="75"/>
              </a:spcBef>
              <a:defRPr/>
            </a:pPr>
            <a:r>
              <a:rPr lang="en-US" sz="1000" spc="-7" dirty="0">
                <a:latin typeface="Calibri"/>
                <a:cs typeface="Calibri"/>
              </a:rPr>
              <a:t>A thirty-year monopoly interrupted in 2022 with the introduction of the </a:t>
            </a:r>
            <a:r>
              <a:rPr lang="en-US" sz="1000" b="1" spc="-7" dirty="0">
                <a:latin typeface="Calibri"/>
                <a:cs typeface="Calibri"/>
              </a:rPr>
              <a:t>"</a:t>
            </a:r>
            <a:r>
              <a:rPr lang="en-US" sz="1000" b="1" spc="-7" dirty="0" err="1">
                <a:latin typeface="Calibri"/>
                <a:cs typeface="Calibri"/>
              </a:rPr>
              <a:t>UnipolMove</a:t>
            </a:r>
            <a:r>
              <a:rPr lang="en-US" sz="1000" b="1" spc="-7" dirty="0">
                <a:latin typeface="Calibri"/>
                <a:cs typeface="Calibri"/>
              </a:rPr>
              <a:t>" electronic toll device</a:t>
            </a:r>
          </a:p>
        </p:txBody>
      </p:sp>
      <p:sp>
        <p:nvSpPr>
          <p:cNvPr id="122" name="object 46">
            <a:extLst>
              <a:ext uri="{FF2B5EF4-FFF2-40B4-BE49-F238E27FC236}">
                <a16:creationId xmlns:a16="http://schemas.microsoft.com/office/drawing/2014/main" id="{3B77EC6E-535B-0EED-4B90-3659E7808510}"/>
              </a:ext>
            </a:extLst>
          </p:cNvPr>
          <p:cNvSpPr txBox="1"/>
          <p:nvPr/>
        </p:nvSpPr>
        <p:spPr>
          <a:xfrm>
            <a:off x="4281874" y="2072764"/>
            <a:ext cx="1141474" cy="1086797"/>
          </a:xfrm>
          <a:prstGeom prst="rect">
            <a:avLst/>
          </a:prstGeom>
        </p:spPr>
        <p:txBody>
          <a:bodyPr vert="horz" wrap="square" lIns="0" tIns="9486" rIns="0" bIns="0" rtlCol="0">
            <a:spAutoFit/>
          </a:bodyPr>
          <a:lstStyle/>
          <a:p>
            <a:pPr marL="9486" marR="3794" defTabSz="682989">
              <a:spcBef>
                <a:spcPts val="75"/>
              </a:spcBef>
              <a:defRPr/>
            </a:pPr>
            <a:r>
              <a:rPr lang="en-US" sz="1000" spc="-4" dirty="0">
                <a:latin typeface="Calibri"/>
                <a:cs typeface="Calibri"/>
              </a:rPr>
              <a:t>Activated </a:t>
            </a:r>
            <a:r>
              <a:rPr lang="en-US" sz="1000" b="1" spc="-4" dirty="0">
                <a:latin typeface="Calibri"/>
                <a:cs typeface="Calibri"/>
              </a:rPr>
              <a:t>Mobility services </a:t>
            </a:r>
            <a:r>
              <a:rPr lang="en-US" sz="1000" spc="-4" dirty="0">
                <a:latin typeface="Calibri"/>
                <a:cs typeface="Calibri"/>
              </a:rPr>
              <a:t>such as structure parking, roadside parking, payment of fines, road tax, fuel and Milan “Area C”</a:t>
            </a:r>
          </a:p>
        </p:txBody>
      </p:sp>
      <p:sp>
        <p:nvSpPr>
          <p:cNvPr id="123" name="object 47">
            <a:extLst>
              <a:ext uri="{FF2B5EF4-FFF2-40B4-BE49-F238E27FC236}">
                <a16:creationId xmlns:a16="http://schemas.microsoft.com/office/drawing/2014/main" id="{7983F0DF-4146-C27E-C475-6D5A82CD02F5}"/>
              </a:ext>
            </a:extLst>
          </p:cNvPr>
          <p:cNvSpPr txBox="1"/>
          <p:nvPr/>
        </p:nvSpPr>
        <p:spPr>
          <a:xfrm>
            <a:off x="4081406" y="3388344"/>
            <a:ext cx="1647771" cy="779020"/>
          </a:xfrm>
          <a:prstGeom prst="rect">
            <a:avLst/>
          </a:prstGeom>
        </p:spPr>
        <p:txBody>
          <a:bodyPr vert="horz" wrap="square" lIns="0" tIns="9486" rIns="0" bIns="0" rtlCol="0">
            <a:spAutoFit/>
          </a:bodyPr>
          <a:lstStyle/>
          <a:p>
            <a:pPr marL="9486" marR="3794" defTabSz="682989">
              <a:spcBef>
                <a:spcPts val="75"/>
              </a:spcBef>
              <a:defRPr/>
            </a:pPr>
            <a:r>
              <a:rPr lang="en-US" sz="1000" spc="-4" dirty="0">
                <a:latin typeface="Calibri"/>
                <a:cs typeface="Calibri"/>
              </a:rPr>
              <a:t>Experimental </a:t>
            </a:r>
            <a:r>
              <a:rPr lang="en-US" sz="1000" b="1" spc="-4" dirty="0">
                <a:latin typeface="Calibri"/>
                <a:cs typeface="Calibri"/>
              </a:rPr>
              <a:t>Mobility-as-a-Service </a:t>
            </a:r>
            <a:r>
              <a:rPr lang="en-US" sz="1000" spc="-4" dirty="0">
                <a:latin typeface="Calibri"/>
                <a:cs typeface="Calibri"/>
              </a:rPr>
              <a:t>(</a:t>
            </a:r>
            <a:r>
              <a:rPr lang="en-US" sz="1000" spc="-4" dirty="0" err="1">
                <a:latin typeface="Calibri"/>
                <a:cs typeface="Calibri"/>
              </a:rPr>
              <a:t>MaaS</a:t>
            </a:r>
            <a:r>
              <a:rPr lang="en-US" sz="1000" spc="-4" dirty="0">
                <a:latin typeface="Calibri"/>
                <a:cs typeface="Calibri"/>
              </a:rPr>
              <a:t>) </a:t>
            </a:r>
            <a:r>
              <a:rPr lang="en-US" sz="1000" b="1" spc="-4" dirty="0">
                <a:latin typeface="Calibri"/>
                <a:cs typeface="Calibri"/>
              </a:rPr>
              <a:t>app </a:t>
            </a:r>
            <a:r>
              <a:rPr lang="en-US" sz="1000" spc="-4" dirty="0">
                <a:latin typeface="Calibri"/>
                <a:cs typeface="Calibri"/>
              </a:rPr>
              <a:t>launched with public transport, taxis, </a:t>
            </a:r>
            <a:r>
              <a:rPr lang="en-US" sz="1000" spc="-4" dirty="0" err="1">
                <a:latin typeface="Calibri"/>
                <a:cs typeface="Calibri"/>
              </a:rPr>
              <a:t>micromobility</a:t>
            </a:r>
            <a:r>
              <a:rPr lang="en-US" sz="1000" spc="-4" dirty="0">
                <a:latin typeface="Calibri"/>
                <a:cs typeface="Calibri"/>
              </a:rPr>
              <a:t> and short-term rental</a:t>
            </a:r>
          </a:p>
        </p:txBody>
      </p:sp>
      <p:pic>
        <p:nvPicPr>
          <p:cNvPr id="124" name="object 20">
            <a:extLst>
              <a:ext uri="{FF2B5EF4-FFF2-40B4-BE49-F238E27FC236}">
                <a16:creationId xmlns:a16="http://schemas.microsoft.com/office/drawing/2014/main" id="{987071CC-8E0D-FA8C-356B-DF564900107B}"/>
              </a:ext>
            </a:extLst>
          </p:cNvPr>
          <p:cNvPicPr/>
          <p:nvPr/>
        </p:nvPicPr>
        <p:blipFill>
          <a:blip r:embed="rId14" cstate="hqprint">
            <a:clrChange>
              <a:clrFrom>
                <a:srgbClr val="FAFBF5"/>
              </a:clrFrom>
              <a:clrTo>
                <a:srgbClr val="FAFBF5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638435" y="2618437"/>
            <a:ext cx="953352" cy="167133"/>
          </a:xfrm>
          <a:prstGeom prst="rect">
            <a:avLst/>
          </a:prstGeom>
        </p:spPr>
      </p:pic>
      <p:pic>
        <p:nvPicPr>
          <p:cNvPr id="125" name="object 23">
            <a:extLst>
              <a:ext uri="{FF2B5EF4-FFF2-40B4-BE49-F238E27FC236}">
                <a16:creationId xmlns:a16="http://schemas.microsoft.com/office/drawing/2014/main" id="{EEA78A90-F05C-2632-7500-D34C9B13E64F}"/>
              </a:ext>
            </a:extLst>
          </p:cNvPr>
          <p:cNvPicPr/>
          <p:nvPr/>
        </p:nvPicPr>
        <p:blipFill>
          <a:blip r:embed="rId15" cstate="print"/>
          <a:stretch>
            <a:fillRect/>
          </a:stretch>
        </p:blipFill>
        <p:spPr>
          <a:xfrm>
            <a:off x="3601427" y="1565953"/>
            <a:ext cx="112695" cy="111557"/>
          </a:xfrm>
          <a:prstGeom prst="rect">
            <a:avLst/>
          </a:prstGeom>
        </p:spPr>
      </p:pic>
      <p:sp>
        <p:nvSpPr>
          <p:cNvPr id="126" name="object 21">
            <a:extLst>
              <a:ext uri="{FF2B5EF4-FFF2-40B4-BE49-F238E27FC236}">
                <a16:creationId xmlns:a16="http://schemas.microsoft.com/office/drawing/2014/main" id="{A6D7F564-EBC1-6A48-7C45-3F79E5211B37}"/>
              </a:ext>
            </a:extLst>
          </p:cNvPr>
          <p:cNvSpPr txBox="1"/>
          <p:nvPr/>
        </p:nvSpPr>
        <p:spPr>
          <a:xfrm>
            <a:off x="499460" y="617784"/>
            <a:ext cx="1838697" cy="421134"/>
          </a:xfrm>
          <a:prstGeom prst="rect">
            <a:avLst/>
          </a:prstGeom>
        </p:spPr>
        <p:txBody>
          <a:bodyPr vert="horz" wrap="square" lIns="0" tIns="73518" rIns="0" bIns="0" rtlCol="0" anchor="ctr">
            <a:noAutofit/>
          </a:bodyPr>
          <a:lstStyle/>
          <a:p>
            <a:pPr marL="9486" algn="ctr" defTabSz="682989">
              <a:spcBef>
                <a:spcPts val="579"/>
              </a:spcBef>
              <a:defRPr/>
            </a:pPr>
            <a:r>
              <a:rPr lang="en-US" sz="1400" b="1" spc="-12" dirty="0">
                <a:latin typeface="Calibri"/>
                <a:cs typeface="Calibri"/>
              </a:rPr>
              <a:t>TELEMATICS</a:t>
            </a:r>
            <a:endParaRPr lang="en-US" sz="1400" dirty="0">
              <a:latin typeface="Calibri"/>
              <a:cs typeface="Calibri"/>
            </a:endParaRPr>
          </a:p>
        </p:txBody>
      </p:sp>
      <p:sp>
        <p:nvSpPr>
          <p:cNvPr id="127" name="CasellaDiTesto 275">
            <a:extLst>
              <a:ext uri="{FF2B5EF4-FFF2-40B4-BE49-F238E27FC236}">
                <a16:creationId xmlns:a16="http://schemas.microsoft.com/office/drawing/2014/main" id="{A89FF3B6-EDC3-21D6-707A-7BEEFC2F8ED7}"/>
              </a:ext>
            </a:extLst>
          </p:cNvPr>
          <p:cNvSpPr txBox="1"/>
          <p:nvPr/>
        </p:nvSpPr>
        <p:spPr>
          <a:xfrm>
            <a:off x="122880" y="2079911"/>
            <a:ext cx="1452683" cy="101566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0869" algn="r" defTabSz="682989">
              <a:spcBef>
                <a:spcPts val="433"/>
              </a:spcBef>
              <a:defRPr/>
            </a:pPr>
            <a:r>
              <a:rPr lang="en-US" sz="1000" b="1" spc="-4" dirty="0">
                <a:latin typeface="Calibri"/>
                <a:cs typeface="Calibri"/>
              </a:rPr>
              <a:t>Leader in insurance telematics </a:t>
            </a:r>
            <a:r>
              <a:rPr lang="en-US" sz="1000" spc="-4" dirty="0">
                <a:latin typeface="Calibri"/>
                <a:cs typeface="Calibri"/>
              </a:rPr>
              <a:t>applied to vehicles in Italy (where it holds a share of approximately 60%) and in Europe</a:t>
            </a:r>
          </a:p>
        </p:txBody>
      </p:sp>
      <p:sp>
        <p:nvSpPr>
          <p:cNvPr id="128" name="object 21">
            <a:extLst>
              <a:ext uri="{FF2B5EF4-FFF2-40B4-BE49-F238E27FC236}">
                <a16:creationId xmlns:a16="http://schemas.microsoft.com/office/drawing/2014/main" id="{BE9A9AEA-4046-1B45-3D08-F5B1292AE7D0}"/>
              </a:ext>
            </a:extLst>
          </p:cNvPr>
          <p:cNvSpPr txBox="1"/>
          <p:nvPr/>
        </p:nvSpPr>
        <p:spPr>
          <a:xfrm>
            <a:off x="3493844" y="638717"/>
            <a:ext cx="1838697" cy="421134"/>
          </a:xfrm>
          <a:prstGeom prst="rect">
            <a:avLst/>
          </a:prstGeom>
        </p:spPr>
        <p:txBody>
          <a:bodyPr vert="horz" wrap="square" lIns="0" tIns="73518" rIns="0" bIns="0" rtlCol="0" anchor="ctr">
            <a:noAutofit/>
          </a:bodyPr>
          <a:lstStyle/>
          <a:p>
            <a:pPr marL="9486" algn="ctr" defTabSz="682989">
              <a:spcBef>
                <a:spcPts val="579"/>
              </a:spcBef>
              <a:defRPr/>
            </a:pPr>
            <a:r>
              <a:rPr lang="en-US" sz="1400" b="1" spc="-12" dirty="0">
                <a:latin typeface="Calibri"/>
                <a:cs typeface="Calibri"/>
              </a:rPr>
              <a:t>ELECTRONIC TOLL AND MOBILITY SERVICES</a:t>
            </a:r>
          </a:p>
        </p:txBody>
      </p:sp>
      <p:pic>
        <p:nvPicPr>
          <p:cNvPr id="129" name="object 41">
            <a:extLst>
              <a:ext uri="{FF2B5EF4-FFF2-40B4-BE49-F238E27FC236}">
                <a16:creationId xmlns:a16="http://schemas.microsoft.com/office/drawing/2014/main" id="{1EC5A779-A1FD-84E5-B153-9DCD99AF8499}"/>
              </a:ext>
            </a:extLst>
          </p:cNvPr>
          <p:cNvPicPr/>
          <p:nvPr/>
        </p:nvPicPr>
        <p:blipFill>
          <a:blip r:embed="rId13" cstate="print"/>
          <a:stretch>
            <a:fillRect/>
          </a:stretch>
        </p:blipFill>
        <p:spPr>
          <a:xfrm>
            <a:off x="4155095" y="2409316"/>
            <a:ext cx="111557" cy="111557"/>
          </a:xfrm>
          <a:prstGeom prst="rect">
            <a:avLst/>
          </a:prstGeom>
        </p:spPr>
      </p:pic>
      <p:pic>
        <p:nvPicPr>
          <p:cNvPr id="130" name="Picture 3">
            <a:extLst>
              <a:ext uri="{FF2B5EF4-FFF2-40B4-BE49-F238E27FC236}">
                <a16:creationId xmlns:a16="http://schemas.microsoft.com/office/drawing/2014/main" id="{709AC3AA-72CD-F42C-CA3F-84FCD8CDEDEF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580157" y="3740155"/>
            <a:ext cx="698070" cy="589058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31" name="Immagine 13">
            <a:extLst>
              <a:ext uri="{FF2B5EF4-FFF2-40B4-BE49-F238E27FC236}">
                <a16:creationId xmlns:a16="http://schemas.microsoft.com/office/drawing/2014/main" id="{E15C24CF-A371-C06E-4E1F-3E2079968934}"/>
              </a:ext>
            </a:extLst>
          </p:cNvPr>
          <p:cNvPicPr>
            <a:picLocks noChangeAspect="1"/>
          </p:cNvPicPr>
          <p:nvPr/>
        </p:nvPicPr>
        <p:blipFill rotWithShape="1">
          <a:blip r:embed="rId1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385972" y="3896532"/>
            <a:ext cx="635387" cy="426090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32" name="Picture 131" descr="A black and blue text&#10;&#10;Description automatically generated">
            <a:extLst>
              <a:ext uri="{FF2B5EF4-FFF2-40B4-BE49-F238E27FC236}">
                <a16:creationId xmlns:a16="http://schemas.microsoft.com/office/drawing/2014/main" id="{00BC773B-A320-805A-B701-3F0646BC6A6F}"/>
              </a:ext>
            </a:extLst>
          </p:cNvPr>
          <p:cNvPicPr>
            <a:picLocks noChangeAspect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15842" y="2499841"/>
            <a:ext cx="1082211" cy="449873"/>
          </a:xfrm>
          <a:prstGeom prst="rect">
            <a:avLst/>
          </a:prstGeom>
        </p:spPr>
      </p:pic>
      <p:sp>
        <p:nvSpPr>
          <p:cNvPr id="147" name="Rettangolo 303">
            <a:extLst>
              <a:ext uri="{FF2B5EF4-FFF2-40B4-BE49-F238E27FC236}">
                <a16:creationId xmlns:a16="http://schemas.microsoft.com/office/drawing/2014/main" id="{F39B27C4-BD23-593A-8E69-CF68FB84944D}"/>
              </a:ext>
            </a:extLst>
          </p:cNvPr>
          <p:cNvSpPr/>
          <p:nvPr/>
        </p:nvSpPr>
        <p:spPr>
          <a:xfrm>
            <a:off x="6759525" y="2908747"/>
            <a:ext cx="280858" cy="264979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19323">
              <a:defRPr/>
            </a:pPr>
            <a:endParaRPr lang="en-US" sz="1219" dirty="0">
              <a:solidFill>
                <a:schemeClr val="tx1"/>
              </a:solidFill>
              <a:latin typeface="Calibri"/>
            </a:endParaRPr>
          </a:p>
        </p:txBody>
      </p:sp>
      <p:grpSp>
        <p:nvGrpSpPr>
          <p:cNvPr id="42" name="Group 41">
            <a:extLst>
              <a:ext uri="{FF2B5EF4-FFF2-40B4-BE49-F238E27FC236}">
                <a16:creationId xmlns:a16="http://schemas.microsoft.com/office/drawing/2014/main" id="{ABECDC68-B52B-5BF2-1FE3-0428B5B4D12A}"/>
              </a:ext>
            </a:extLst>
          </p:cNvPr>
          <p:cNvGrpSpPr/>
          <p:nvPr/>
        </p:nvGrpSpPr>
        <p:grpSpPr>
          <a:xfrm>
            <a:off x="6491230" y="1050398"/>
            <a:ext cx="2169983" cy="683538"/>
            <a:chOff x="6655615" y="661673"/>
            <a:chExt cx="2169983" cy="683538"/>
          </a:xfrm>
        </p:grpSpPr>
        <p:sp>
          <p:nvSpPr>
            <p:cNvPr id="19" name="Arrow: Pentagon 18">
              <a:extLst>
                <a:ext uri="{FF2B5EF4-FFF2-40B4-BE49-F238E27FC236}">
                  <a16:creationId xmlns:a16="http://schemas.microsoft.com/office/drawing/2014/main" id="{AABD634F-C536-1259-4BD0-9221E0D0FDCD}"/>
                </a:ext>
              </a:extLst>
            </p:cNvPr>
            <p:cNvSpPr/>
            <p:nvPr/>
          </p:nvSpPr>
          <p:spPr>
            <a:xfrm flipH="1">
              <a:off x="7043609" y="661673"/>
              <a:ext cx="1781989" cy="683538"/>
            </a:xfrm>
            <a:prstGeom prst="homePlate">
              <a:avLst>
                <a:gd name="adj" fmla="val 28632"/>
              </a:avLst>
            </a:prstGeom>
            <a:noFill/>
            <a:ln w="19050">
              <a:solidFill>
                <a:schemeClr val="tx2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Ins="36000" rtlCol="0" anchor="ctr"/>
            <a:lstStyle/>
            <a:p>
              <a:pPr defTabSz="619323">
                <a:defRPr/>
              </a:pPr>
              <a:r>
                <a:rPr lang="en-US" sz="2000" b="1" dirty="0">
                  <a:solidFill>
                    <a:schemeClr val="tx1"/>
                  </a:solidFill>
                  <a:latin typeface="Calibri"/>
                </a:rPr>
                <a:t>4+</a:t>
              </a:r>
              <a:r>
                <a:rPr lang="en-US" sz="1400" b="1" dirty="0">
                  <a:solidFill>
                    <a:schemeClr val="tx1"/>
                  </a:solidFill>
                  <a:latin typeface="Calibri"/>
                </a:rPr>
                <a:t> </a:t>
              </a:r>
              <a:r>
                <a:rPr lang="en-US" sz="1100" dirty="0">
                  <a:solidFill>
                    <a:schemeClr val="tx1"/>
                  </a:solidFill>
                  <a:latin typeface="Calibri"/>
                </a:rPr>
                <a:t>million</a:t>
              </a:r>
            </a:p>
            <a:p>
              <a:pPr defTabSz="619323">
                <a:defRPr/>
              </a:pPr>
              <a:r>
                <a:rPr lang="en-US" sz="1100" dirty="0">
                  <a:solidFill>
                    <a:schemeClr val="tx1"/>
                  </a:solidFill>
                  <a:latin typeface="Calibri"/>
                </a:rPr>
                <a:t>active black boxes at the end of 2023</a:t>
              </a:r>
            </a:p>
          </p:txBody>
        </p:sp>
        <p:grpSp>
          <p:nvGrpSpPr>
            <p:cNvPr id="25" name="Group 24">
              <a:extLst>
                <a:ext uri="{FF2B5EF4-FFF2-40B4-BE49-F238E27FC236}">
                  <a16:creationId xmlns:a16="http://schemas.microsoft.com/office/drawing/2014/main" id="{231A3C06-D1C1-65DF-9559-1650A41597D9}"/>
                </a:ext>
              </a:extLst>
            </p:cNvPr>
            <p:cNvGrpSpPr/>
            <p:nvPr/>
          </p:nvGrpSpPr>
          <p:grpSpPr>
            <a:xfrm>
              <a:off x="6655615" y="769845"/>
              <a:ext cx="467194" cy="467194"/>
              <a:chOff x="6650591" y="878017"/>
              <a:chExt cx="467194" cy="467194"/>
            </a:xfrm>
          </p:grpSpPr>
          <p:grpSp>
            <p:nvGrpSpPr>
              <p:cNvPr id="140" name="object 61">
                <a:extLst>
                  <a:ext uri="{FF2B5EF4-FFF2-40B4-BE49-F238E27FC236}">
                    <a16:creationId xmlns:a16="http://schemas.microsoft.com/office/drawing/2014/main" id="{3E206021-19EB-645B-F71B-0F05A7A88448}"/>
                  </a:ext>
                </a:extLst>
              </p:cNvPr>
              <p:cNvGrpSpPr/>
              <p:nvPr/>
            </p:nvGrpSpPr>
            <p:grpSpPr>
              <a:xfrm>
                <a:off x="6650591" y="878017"/>
                <a:ext cx="467194" cy="467194"/>
                <a:chOff x="5256406" y="2108521"/>
                <a:chExt cx="677545" cy="677545"/>
              </a:xfrm>
              <a:solidFill>
                <a:schemeClr val="bg1"/>
              </a:solidFill>
            </p:grpSpPr>
            <p:sp>
              <p:nvSpPr>
                <p:cNvPr id="158" name="object 62">
                  <a:extLst>
                    <a:ext uri="{FF2B5EF4-FFF2-40B4-BE49-F238E27FC236}">
                      <a16:creationId xmlns:a16="http://schemas.microsoft.com/office/drawing/2014/main" id="{6C815869-773E-1CE1-8195-6A51B37F9A72}"/>
                    </a:ext>
                  </a:extLst>
                </p:cNvPr>
                <p:cNvSpPr/>
                <p:nvPr/>
              </p:nvSpPr>
              <p:spPr>
                <a:xfrm>
                  <a:off x="5256406" y="2108521"/>
                  <a:ext cx="677545" cy="67754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677545" h="677544">
                      <a:moveTo>
                        <a:pt x="338531" y="0"/>
                      </a:moveTo>
                      <a:lnTo>
                        <a:pt x="292596" y="3090"/>
                      </a:lnTo>
                      <a:lnTo>
                        <a:pt x="248539" y="12092"/>
                      </a:lnTo>
                      <a:lnTo>
                        <a:pt x="206763" y="26602"/>
                      </a:lnTo>
                      <a:lnTo>
                        <a:pt x="167671" y="46218"/>
                      </a:lnTo>
                      <a:lnTo>
                        <a:pt x="131668" y="70535"/>
                      </a:lnTo>
                      <a:lnTo>
                        <a:pt x="99156" y="99150"/>
                      </a:lnTo>
                      <a:lnTo>
                        <a:pt x="70539" y="131660"/>
                      </a:lnTo>
                      <a:lnTo>
                        <a:pt x="46221" y="167662"/>
                      </a:lnTo>
                      <a:lnTo>
                        <a:pt x="26604" y="206752"/>
                      </a:lnTo>
                      <a:lnTo>
                        <a:pt x="12093" y="248527"/>
                      </a:lnTo>
                      <a:lnTo>
                        <a:pt x="3090" y="292583"/>
                      </a:lnTo>
                      <a:lnTo>
                        <a:pt x="0" y="338518"/>
                      </a:lnTo>
                      <a:lnTo>
                        <a:pt x="3090" y="384455"/>
                      </a:lnTo>
                      <a:lnTo>
                        <a:pt x="12093" y="428514"/>
                      </a:lnTo>
                      <a:lnTo>
                        <a:pt x="26604" y="470291"/>
                      </a:lnTo>
                      <a:lnTo>
                        <a:pt x="46221" y="509383"/>
                      </a:lnTo>
                      <a:lnTo>
                        <a:pt x="70539" y="545386"/>
                      </a:lnTo>
                      <a:lnTo>
                        <a:pt x="99156" y="577897"/>
                      </a:lnTo>
                      <a:lnTo>
                        <a:pt x="131668" y="606513"/>
                      </a:lnTo>
                      <a:lnTo>
                        <a:pt x="167671" y="630831"/>
                      </a:lnTo>
                      <a:lnTo>
                        <a:pt x="206763" y="650446"/>
                      </a:lnTo>
                      <a:lnTo>
                        <a:pt x="248539" y="664957"/>
                      </a:lnTo>
                      <a:lnTo>
                        <a:pt x="292596" y="673959"/>
                      </a:lnTo>
                      <a:lnTo>
                        <a:pt x="338531" y="677049"/>
                      </a:lnTo>
                      <a:lnTo>
                        <a:pt x="384468" y="673959"/>
                      </a:lnTo>
                      <a:lnTo>
                        <a:pt x="428527" y="664957"/>
                      </a:lnTo>
                      <a:lnTo>
                        <a:pt x="470304" y="650446"/>
                      </a:lnTo>
                      <a:lnTo>
                        <a:pt x="509396" y="630831"/>
                      </a:lnTo>
                      <a:lnTo>
                        <a:pt x="545399" y="606513"/>
                      </a:lnTo>
                      <a:lnTo>
                        <a:pt x="577910" y="577897"/>
                      </a:lnTo>
                      <a:lnTo>
                        <a:pt x="606526" y="545386"/>
                      </a:lnTo>
                      <a:lnTo>
                        <a:pt x="630843" y="509383"/>
                      </a:lnTo>
                      <a:lnTo>
                        <a:pt x="650459" y="470291"/>
                      </a:lnTo>
                      <a:lnTo>
                        <a:pt x="664970" y="428514"/>
                      </a:lnTo>
                      <a:lnTo>
                        <a:pt x="673972" y="384455"/>
                      </a:lnTo>
                      <a:lnTo>
                        <a:pt x="677062" y="338518"/>
                      </a:lnTo>
                      <a:lnTo>
                        <a:pt x="673972" y="292583"/>
                      </a:lnTo>
                      <a:lnTo>
                        <a:pt x="664970" y="248527"/>
                      </a:lnTo>
                      <a:lnTo>
                        <a:pt x="650459" y="206752"/>
                      </a:lnTo>
                      <a:lnTo>
                        <a:pt x="630843" y="167662"/>
                      </a:lnTo>
                      <a:lnTo>
                        <a:pt x="606526" y="131660"/>
                      </a:lnTo>
                      <a:lnTo>
                        <a:pt x="577910" y="99150"/>
                      </a:lnTo>
                      <a:lnTo>
                        <a:pt x="545399" y="70535"/>
                      </a:lnTo>
                      <a:lnTo>
                        <a:pt x="509396" y="46218"/>
                      </a:lnTo>
                      <a:lnTo>
                        <a:pt x="470304" y="26602"/>
                      </a:lnTo>
                      <a:lnTo>
                        <a:pt x="428527" y="12092"/>
                      </a:lnTo>
                      <a:lnTo>
                        <a:pt x="384468" y="3090"/>
                      </a:lnTo>
                      <a:lnTo>
                        <a:pt x="338531" y="0"/>
                      </a:lnTo>
                      <a:close/>
                    </a:path>
                  </a:pathLst>
                </a:custGeom>
                <a:grpFill/>
                <a:ln>
                  <a:solidFill>
                    <a:schemeClr val="accent1"/>
                  </a:solidFill>
                </a:ln>
              </p:spPr>
              <p:txBody>
                <a:bodyPr wrap="square" lIns="0" tIns="0" rIns="0" bIns="0" rtlCol="0"/>
                <a:lstStyle/>
                <a:p>
                  <a:pPr defTabSz="619323">
                    <a:defRPr/>
                  </a:pPr>
                  <a:endParaRPr lang="en-US" sz="1219" dirty="0">
                    <a:latin typeface="Calibri"/>
                  </a:endParaRPr>
                </a:p>
              </p:txBody>
            </p:sp>
            <p:sp>
              <p:nvSpPr>
                <p:cNvPr id="159" name="object 63">
                  <a:extLst>
                    <a:ext uri="{FF2B5EF4-FFF2-40B4-BE49-F238E27FC236}">
                      <a16:creationId xmlns:a16="http://schemas.microsoft.com/office/drawing/2014/main" id="{86982303-5D70-1EB0-29F3-B4277ED978B4}"/>
                    </a:ext>
                  </a:extLst>
                </p:cNvPr>
                <p:cNvSpPr/>
                <p:nvPr/>
              </p:nvSpPr>
              <p:spPr>
                <a:xfrm>
                  <a:off x="5355526" y="2307983"/>
                  <a:ext cx="479425" cy="30480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79425" h="304800">
                      <a:moveTo>
                        <a:pt x="335140" y="115646"/>
                      </a:moveTo>
                      <a:lnTo>
                        <a:pt x="330974" y="111480"/>
                      </a:lnTo>
                      <a:lnTo>
                        <a:pt x="325831" y="111480"/>
                      </a:lnTo>
                      <a:lnTo>
                        <a:pt x="320675" y="111480"/>
                      </a:lnTo>
                      <a:lnTo>
                        <a:pt x="316509" y="115646"/>
                      </a:lnTo>
                      <a:lnTo>
                        <a:pt x="316509" y="125933"/>
                      </a:lnTo>
                      <a:lnTo>
                        <a:pt x="320687" y="130111"/>
                      </a:lnTo>
                      <a:lnTo>
                        <a:pt x="330974" y="130111"/>
                      </a:lnTo>
                      <a:lnTo>
                        <a:pt x="335140" y="125933"/>
                      </a:lnTo>
                      <a:lnTo>
                        <a:pt x="335140" y="115646"/>
                      </a:lnTo>
                      <a:close/>
                    </a:path>
                    <a:path w="479425" h="304800">
                      <a:moveTo>
                        <a:pt x="478942" y="157480"/>
                      </a:moveTo>
                      <a:lnTo>
                        <a:pt x="477266" y="152400"/>
                      </a:lnTo>
                      <a:lnTo>
                        <a:pt x="456666" y="93675"/>
                      </a:lnTo>
                      <a:lnTo>
                        <a:pt x="456666" y="149860"/>
                      </a:lnTo>
                      <a:lnTo>
                        <a:pt x="413499" y="166370"/>
                      </a:lnTo>
                      <a:lnTo>
                        <a:pt x="411048" y="162560"/>
                      </a:lnTo>
                      <a:lnTo>
                        <a:pt x="407974" y="160020"/>
                      </a:lnTo>
                      <a:lnTo>
                        <a:pt x="404329" y="157480"/>
                      </a:lnTo>
                      <a:lnTo>
                        <a:pt x="362089" y="132080"/>
                      </a:lnTo>
                      <a:lnTo>
                        <a:pt x="356374" y="133350"/>
                      </a:lnTo>
                      <a:lnTo>
                        <a:pt x="351053" y="142240"/>
                      </a:lnTo>
                      <a:lnTo>
                        <a:pt x="352463" y="148590"/>
                      </a:lnTo>
                      <a:lnTo>
                        <a:pt x="390702" y="171450"/>
                      </a:lnTo>
                      <a:lnTo>
                        <a:pt x="401548" y="177800"/>
                      </a:lnTo>
                      <a:lnTo>
                        <a:pt x="403783" y="186690"/>
                      </a:lnTo>
                      <a:lnTo>
                        <a:pt x="396252" y="199390"/>
                      </a:lnTo>
                      <a:lnTo>
                        <a:pt x="387883" y="201930"/>
                      </a:lnTo>
                      <a:lnTo>
                        <a:pt x="282829" y="140970"/>
                      </a:lnTo>
                      <a:lnTo>
                        <a:pt x="277139" y="142240"/>
                      </a:lnTo>
                      <a:lnTo>
                        <a:pt x="271995" y="151130"/>
                      </a:lnTo>
                      <a:lnTo>
                        <a:pt x="273519" y="157480"/>
                      </a:lnTo>
                      <a:lnTo>
                        <a:pt x="352107" y="201930"/>
                      </a:lnTo>
                      <a:lnTo>
                        <a:pt x="358597" y="205740"/>
                      </a:lnTo>
                      <a:lnTo>
                        <a:pt x="360832" y="214630"/>
                      </a:lnTo>
                      <a:lnTo>
                        <a:pt x="353301" y="227330"/>
                      </a:lnTo>
                      <a:lnTo>
                        <a:pt x="344944" y="229870"/>
                      </a:lnTo>
                      <a:lnTo>
                        <a:pt x="255765" y="177800"/>
                      </a:lnTo>
                      <a:lnTo>
                        <a:pt x="250075" y="180340"/>
                      </a:lnTo>
                      <a:lnTo>
                        <a:pt x="244932" y="189230"/>
                      </a:lnTo>
                      <a:lnTo>
                        <a:pt x="246456" y="194310"/>
                      </a:lnTo>
                      <a:lnTo>
                        <a:pt x="322478" y="238760"/>
                      </a:lnTo>
                      <a:lnTo>
                        <a:pt x="324726" y="246380"/>
                      </a:lnTo>
                      <a:lnTo>
                        <a:pt x="319151" y="256540"/>
                      </a:lnTo>
                      <a:lnTo>
                        <a:pt x="316204" y="259080"/>
                      </a:lnTo>
                      <a:lnTo>
                        <a:pt x="309118" y="260350"/>
                      </a:lnTo>
                      <a:lnTo>
                        <a:pt x="305447" y="260350"/>
                      </a:lnTo>
                      <a:lnTo>
                        <a:pt x="279692" y="245110"/>
                      </a:lnTo>
                      <a:lnTo>
                        <a:pt x="279361" y="244919"/>
                      </a:lnTo>
                      <a:lnTo>
                        <a:pt x="279361" y="273050"/>
                      </a:lnTo>
                      <a:lnTo>
                        <a:pt x="275602" y="279400"/>
                      </a:lnTo>
                      <a:lnTo>
                        <a:pt x="271843" y="287020"/>
                      </a:lnTo>
                      <a:lnTo>
                        <a:pt x="263474" y="288290"/>
                      </a:lnTo>
                      <a:lnTo>
                        <a:pt x="256819" y="284480"/>
                      </a:lnTo>
                      <a:lnTo>
                        <a:pt x="241261" y="275590"/>
                      </a:lnTo>
                      <a:lnTo>
                        <a:pt x="230149" y="269240"/>
                      </a:lnTo>
                      <a:lnTo>
                        <a:pt x="240715" y="251460"/>
                      </a:lnTo>
                      <a:lnTo>
                        <a:pt x="241871" y="247650"/>
                      </a:lnTo>
                      <a:lnTo>
                        <a:pt x="242570" y="245110"/>
                      </a:lnTo>
                      <a:lnTo>
                        <a:pt x="277126" y="265430"/>
                      </a:lnTo>
                      <a:lnTo>
                        <a:pt x="279361" y="273050"/>
                      </a:lnTo>
                      <a:lnTo>
                        <a:pt x="279361" y="244919"/>
                      </a:lnTo>
                      <a:lnTo>
                        <a:pt x="241033" y="222250"/>
                      </a:lnTo>
                      <a:lnTo>
                        <a:pt x="238887" y="220980"/>
                      </a:lnTo>
                      <a:lnTo>
                        <a:pt x="236156" y="217170"/>
                      </a:lnTo>
                      <a:lnTo>
                        <a:pt x="232232" y="213360"/>
                      </a:lnTo>
                      <a:lnTo>
                        <a:pt x="226695" y="210146"/>
                      </a:lnTo>
                      <a:lnTo>
                        <a:pt x="226695" y="238760"/>
                      </a:lnTo>
                      <a:lnTo>
                        <a:pt x="206171" y="274320"/>
                      </a:lnTo>
                      <a:lnTo>
                        <a:pt x="197802" y="275590"/>
                      </a:lnTo>
                      <a:lnTo>
                        <a:pt x="195630" y="274320"/>
                      </a:lnTo>
                      <a:lnTo>
                        <a:pt x="191274" y="271780"/>
                      </a:lnTo>
                      <a:lnTo>
                        <a:pt x="188137" y="270510"/>
                      </a:lnTo>
                      <a:lnTo>
                        <a:pt x="185889" y="267970"/>
                      </a:lnTo>
                      <a:lnTo>
                        <a:pt x="183997" y="260350"/>
                      </a:lnTo>
                      <a:lnTo>
                        <a:pt x="184467" y="256540"/>
                      </a:lnTo>
                      <a:lnTo>
                        <a:pt x="203047" y="224790"/>
                      </a:lnTo>
                      <a:lnTo>
                        <a:pt x="211416" y="222250"/>
                      </a:lnTo>
                      <a:lnTo>
                        <a:pt x="224459" y="229870"/>
                      </a:lnTo>
                      <a:lnTo>
                        <a:pt x="226695" y="238760"/>
                      </a:lnTo>
                      <a:lnTo>
                        <a:pt x="226695" y="210146"/>
                      </a:lnTo>
                      <a:lnTo>
                        <a:pt x="221297" y="207010"/>
                      </a:lnTo>
                      <a:lnTo>
                        <a:pt x="214706" y="205740"/>
                      </a:lnTo>
                      <a:lnTo>
                        <a:pt x="208343" y="205740"/>
                      </a:lnTo>
                      <a:lnTo>
                        <a:pt x="208254" y="203200"/>
                      </a:lnTo>
                      <a:lnTo>
                        <a:pt x="207899" y="200660"/>
                      </a:lnTo>
                      <a:lnTo>
                        <a:pt x="205003" y="190500"/>
                      </a:lnTo>
                      <a:lnTo>
                        <a:pt x="199669" y="182880"/>
                      </a:lnTo>
                      <a:lnTo>
                        <a:pt x="190195" y="177673"/>
                      </a:lnTo>
                      <a:lnTo>
                        <a:pt x="190195" y="207010"/>
                      </a:lnTo>
                      <a:lnTo>
                        <a:pt x="189725" y="210820"/>
                      </a:lnTo>
                      <a:lnTo>
                        <a:pt x="165392" y="252730"/>
                      </a:lnTo>
                      <a:lnTo>
                        <a:pt x="163576" y="255270"/>
                      </a:lnTo>
                      <a:lnTo>
                        <a:pt x="160642" y="257810"/>
                      </a:lnTo>
                      <a:lnTo>
                        <a:pt x="153555" y="260350"/>
                      </a:lnTo>
                      <a:lnTo>
                        <a:pt x="149872" y="259080"/>
                      </a:lnTo>
                      <a:lnTo>
                        <a:pt x="147459" y="257810"/>
                      </a:lnTo>
                      <a:lnTo>
                        <a:pt x="140220" y="254000"/>
                      </a:lnTo>
                      <a:lnTo>
                        <a:pt x="137985" y="245110"/>
                      </a:lnTo>
                      <a:lnTo>
                        <a:pt x="138722" y="243840"/>
                      </a:lnTo>
                      <a:lnTo>
                        <a:pt x="168021" y="193040"/>
                      </a:lnTo>
                      <a:lnTo>
                        <a:pt x="176390" y="190500"/>
                      </a:lnTo>
                      <a:lnTo>
                        <a:pt x="186055" y="196850"/>
                      </a:lnTo>
                      <a:lnTo>
                        <a:pt x="188302" y="199390"/>
                      </a:lnTo>
                      <a:lnTo>
                        <a:pt x="190195" y="207010"/>
                      </a:lnTo>
                      <a:lnTo>
                        <a:pt x="190195" y="177673"/>
                      </a:lnTo>
                      <a:lnTo>
                        <a:pt x="185826" y="175260"/>
                      </a:lnTo>
                      <a:lnTo>
                        <a:pt x="178663" y="173990"/>
                      </a:lnTo>
                      <a:lnTo>
                        <a:pt x="171869" y="175260"/>
                      </a:lnTo>
                      <a:lnTo>
                        <a:pt x="171691" y="172720"/>
                      </a:lnTo>
                      <a:lnTo>
                        <a:pt x="153860" y="149148"/>
                      </a:lnTo>
                      <a:lnTo>
                        <a:pt x="153860" y="177800"/>
                      </a:lnTo>
                      <a:lnTo>
                        <a:pt x="153390" y="181610"/>
                      </a:lnTo>
                      <a:lnTo>
                        <a:pt x="122161" y="234950"/>
                      </a:lnTo>
                      <a:lnTo>
                        <a:pt x="118402" y="242570"/>
                      </a:lnTo>
                      <a:lnTo>
                        <a:pt x="110032" y="243840"/>
                      </a:lnTo>
                      <a:lnTo>
                        <a:pt x="96989" y="236220"/>
                      </a:lnTo>
                      <a:lnTo>
                        <a:pt x="94754" y="228600"/>
                      </a:lnTo>
                      <a:lnTo>
                        <a:pt x="103505" y="213360"/>
                      </a:lnTo>
                      <a:lnTo>
                        <a:pt x="129730" y="167640"/>
                      </a:lnTo>
                      <a:lnTo>
                        <a:pt x="132676" y="165100"/>
                      </a:lnTo>
                      <a:lnTo>
                        <a:pt x="139763" y="163830"/>
                      </a:lnTo>
                      <a:lnTo>
                        <a:pt x="143433" y="163830"/>
                      </a:lnTo>
                      <a:lnTo>
                        <a:pt x="149720" y="167640"/>
                      </a:lnTo>
                      <a:lnTo>
                        <a:pt x="151968" y="170180"/>
                      </a:lnTo>
                      <a:lnTo>
                        <a:pt x="153860" y="177800"/>
                      </a:lnTo>
                      <a:lnTo>
                        <a:pt x="153860" y="149148"/>
                      </a:lnTo>
                      <a:lnTo>
                        <a:pt x="145161" y="146050"/>
                      </a:lnTo>
                      <a:lnTo>
                        <a:pt x="134162" y="146050"/>
                      </a:lnTo>
                      <a:lnTo>
                        <a:pt x="123850" y="149860"/>
                      </a:lnTo>
                      <a:lnTo>
                        <a:pt x="115239" y="156210"/>
                      </a:lnTo>
                      <a:lnTo>
                        <a:pt x="112585" y="152400"/>
                      </a:lnTo>
                      <a:lnTo>
                        <a:pt x="109004" y="149860"/>
                      </a:lnTo>
                      <a:lnTo>
                        <a:pt x="104584" y="147320"/>
                      </a:lnTo>
                      <a:lnTo>
                        <a:pt x="104038" y="147091"/>
                      </a:lnTo>
                      <a:lnTo>
                        <a:pt x="104038" y="175260"/>
                      </a:lnTo>
                      <a:lnTo>
                        <a:pt x="83489" y="210820"/>
                      </a:lnTo>
                      <a:lnTo>
                        <a:pt x="61328" y="196850"/>
                      </a:lnTo>
                      <a:lnTo>
                        <a:pt x="61810" y="193040"/>
                      </a:lnTo>
                      <a:lnTo>
                        <a:pt x="76174" y="168910"/>
                      </a:lnTo>
                      <a:lnTo>
                        <a:pt x="78435" y="165100"/>
                      </a:lnTo>
                      <a:lnTo>
                        <a:pt x="81381" y="162560"/>
                      </a:lnTo>
                      <a:lnTo>
                        <a:pt x="88468" y="161290"/>
                      </a:lnTo>
                      <a:lnTo>
                        <a:pt x="92138" y="161290"/>
                      </a:lnTo>
                      <a:lnTo>
                        <a:pt x="101790" y="166370"/>
                      </a:lnTo>
                      <a:lnTo>
                        <a:pt x="104038" y="175260"/>
                      </a:lnTo>
                      <a:lnTo>
                        <a:pt x="104038" y="147091"/>
                      </a:lnTo>
                      <a:lnTo>
                        <a:pt x="98793" y="144780"/>
                      </a:lnTo>
                      <a:lnTo>
                        <a:pt x="92684" y="142240"/>
                      </a:lnTo>
                      <a:lnTo>
                        <a:pt x="86398" y="142240"/>
                      </a:lnTo>
                      <a:lnTo>
                        <a:pt x="80098" y="143510"/>
                      </a:lnTo>
                      <a:lnTo>
                        <a:pt x="71755" y="146050"/>
                      </a:lnTo>
                      <a:lnTo>
                        <a:pt x="64782" y="151130"/>
                      </a:lnTo>
                      <a:lnTo>
                        <a:pt x="54889" y="168910"/>
                      </a:lnTo>
                      <a:lnTo>
                        <a:pt x="21831" y="149860"/>
                      </a:lnTo>
                      <a:lnTo>
                        <a:pt x="64312" y="36830"/>
                      </a:lnTo>
                      <a:lnTo>
                        <a:pt x="102806" y="46990"/>
                      </a:lnTo>
                      <a:lnTo>
                        <a:pt x="104546" y="46990"/>
                      </a:lnTo>
                      <a:lnTo>
                        <a:pt x="138887" y="36830"/>
                      </a:lnTo>
                      <a:lnTo>
                        <a:pt x="168935" y="27940"/>
                      </a:lnTo>
                      <a:lnTo>
                        <a:pt x="190398" y="21590"/>
                      </a:lnTo>
                      <a:lnTo>
                        <a:pt x="197269" y="19050"/>
                      </a:lnTo>
                      <a:lnTo>
                        <a:pt x="203428" y="19050"/>
                      </a:lnTo>
                      <a:lnTo>
                        <a:pt x="209283" y="20320"/>
                      </a:lnTo>
                      <a:lnTo>
                        <a:pt x="215214" y="22860"/>
                      </a:lnTo>
                      <a:lnTo>
                        <a:pt x="220522" y="25400"/>
                      </a:lnTo>
                      <a:lnTo>
                        <a:pt x="187896" y="44450"/>
                      </a:lnTo>
                      <a:lnTo>
                        <a:pt x="178231" y="53340"/>
                      </a:lnTo>
                      <a:lnTo>
                        <a:pt x="172758" y="63500"/>
                      </a:lnTo>
                      <a:lnTo>
                        <a:pt x="171894" y="76200"/>
                      </a:lnTo>
                      <a:lnTo>
                        <a:pt x="175996" y="88900"/>
                      </a:lnTo>
                      <a:lnTo>
                        <a:pt x="184213" y="97790"/>
                      </a:lnTo>
                      <a:lnTo>
                        <a:pt x="195059" y="102870"/>
                      </a:lnTo>
                      <a:lnTo>
                        <a:pt x="207352" y="104140"/>
                      </a:lnTo>
                      <a:lnTo>
                        <a:pt x="219875" y="100330"/>
                      </a:lnTo>
                      <a:lnTo>
                        <a:pt x="227114" y="97790"/>
                      </a:lnTo>
                      <a:lnTo>
                        <a:pt x="243382" y="90170"/>
                      </a:lnTo>
                      <a:lnTo>
                        <a:pt x="251091" y="87630"/>
                      </a:lnTo>
                      <a:lnTo>
                        <a:pt x="289560" y="110490"/>
                      </a:lnTo>
                      <a:lnTo>
                        <a:pt x="295287" y="109220"/>
                      </a:lnTo>
                      <a:lnTo>
                        <a:pt x="300621" y="100330"/>
                      </a:lnTo>
                      <a:lnTo>
                        <a:pt x="299212" y="93980"/>
                      </a:lnTo>
                      <a:lnTo>
                        <a:pt x="254660" y="67310"/>
                      </a:lnTo>
                      <a:lnTo>
                        <a:pt x="249974" y="67310"/>
                      </a:lnTo>
                      <a:lnTo>
                        <a:pt x="248983" y="68580"/>
                      </a:lnTo>
                      <a:lnTo>
                        <a:pt x="239953" y="71120"/>
                      </a:lnTo>
                      <a:lnTo>
                        <a:pt x="230035" y="76200"/>
                      </a:lnTo>
                      <a:lnTo>
                        <a:pt x="220256" y="80010"/>
                      </a:lnTo>
                      <a:lnTo>
                        <a:pt x="211632" y="83820"/>
                      </a:lnTo>
                      <a:lnTo>
                        <a:pt x="204203" y="87630"/>
                      </a:lnTo>
                      <a:lnTo>
                        <a:pt x="195821" y="85090"/>
                      </a:lnTo>
                      <a:lnTo>
                        <a:pt x="188290" y="72390"/>
                      </a:lnTo>
                      <a:lnTo>
                        <a:pt x="190576" y="64770"/>
                      </a:lnTo>
                      <a:lnTo>
                        <a:pt x="263067" y="22860"/>
                      </a:lnTo>
                      <a:lnTo>
                        <a:pt x="269011" y="20320"/>
                      </a:lnTo>
                      <a:lnTo>
                        <a:pt x="274866" y="19050"/>
                      </a:lnTo>
                      <a:lnTo>
                        <a:pt x="281025" y="19050"/>
                      </a:lnTo>
                      <a:lnTo>
                        <a:pt x="287883" y="21590"/>
                      </a:lnTo>
                      <a:lnTo>
                        <a:pt x="373557" y="46990"/>
                      </a:lnTo>
                      <a:lnTo>
                        <a:pt x="375094" y="46990"/>
                      </a:lnTo>
                      <a:lnTo>
                        <a:pt x="417576" y="38100"/>
                      </a:lnTo>
                      <a:lnTo>
                        <a:pt x="456666" y="149860"/>
                      </a:lnTo>
                      <a:lnTo>
                        <a:pt x="456666" y="93675"/>
                      </a:lnTo>
                      <a:lnTo>
                        <a:pt x="437172" y="38100"/>
                      </a:lnTo>
                      <a:lnTo>
                        <a:pt x="433616" y="27940"/>
                      </a:lnTo>
                      <a:lnTo>
                        <a:pt x="430936" y="20320"/>
                      </a:lnTo>
                      <a:lnTo>
                        <a:pt x="426402" y="17780"/>
                      </a:lnTo>
                      <a:lnTo>
                        <a:pt x="375196" y="27940"/>
                      </a:lnTo>
                      <a:lnTo>
                        <a:pt x="344982" y="19050"/>
                      </a:lnTo>
                      <a:lnTo>
                        <a:pt x="327723" y="13970"/>
                      </a:lnTo>
                      <a:lnTo>
                        <a:pt x="293192" y="3810"/>
                      </a:lnTo>
                      <a:lnTo>
                        <a:pt x="284099" y="1270"/>
                      </a:lnTo>
                      <a:lnTo>
                        <a:pt x="274523" y="0"/>
                      </a:lnTo>
                      <a:lnTo>
                        <a:pt x="264426" y="1270"/>
                      </a:lnTo>
                      <a:lnTo>
                        <a:pt x="253758" y="6350"/>
                      </a:lnTo>
                      <a:lnTo>
                        <a:pt x="239141" y="13970"/>
                      </a:lnTo>
                      <a:lnTo>
                        <a:pt x="224523" y="6350"/>
                      </a:lnTo>
                      <a:lnTo>
                        <a:pt x="213868" y="1270"/>
                      </a:lnTo>
                      <a:lnTo>
                        <a:pt x="203771" y="0"/>
                      </a:lnTo>
                      <a:lnTo>
                        <a:pt x="194195" y="1270"/>
                      </a:lnTo>
                      <a:lnTo>
                        <a:pt x="185089" y="3810"/>
                      </a:lnTo>
                      <a:lnTo>
                        <a:pt x="103378" y="27940"/>
                      </a:lnTo>
                      <a:lnTo>
                        <a:pt x="56337" y="15240"/>
                      </a:lnTo>
                      <a:lnTo>
                        <a:pt x="51549" y="17780"/>
                      </a:lnTo>
                      <a:lnTo>
                        <a:pt x="0" y="154940"/>
                      </a:lnTo>
                      <a:lnTo>
                        <a:pt x="1714" y="158750"/>
                      </a:lnTo>
                      <a:lnTo>
                        <a:pt x="45783" y="184150"/>
                      </a:lnTo>
                      <a:lnTo>
                        <a:pt x="42938" y="191770"/>
                      </a:lnTo>
                      <a:lnTo>
                        <a:pt x="65201" y="228600"/>
                      </a:lnTo>
                      <a:lnTo>
                        <a:pt x="71755" y="229870"/>
                      </a:lnTo>
                      <a:lnTo>
                        <a:pt x="78079" y="229870"/>
                      </a:lnTo>
                      <a:lnTo>
                        <a:pt x="79286" y="237490"/>
                      </a:lnTo>
                      <a:lnTo>
                        <a:pt x="82448" y="245110"/>
                      </a:lnTo>
                      <a:lnTo>
                        <a:pt x="87452" y="251460"/>
                      </a:lnTo>
                      <a:lnTo>
                        <a:pt x="94195" y="256540"/>
                      </a:lnTo>
                      <a:lnTo>
                        <a:pt x="101485" y="260350"/>
                      </a:lnTo>
                      <a:lnTo>
                        <a:pt x="116586" y="260350"/>
                      </a:lnTo>
                      <a:lnTo>
                        <a:pt x="123748" y="257810"/>
                      </a:lnTo>
                      <a:lnTo>
                        <a:pt x="126377" y="264160"/>
                      </a:lnTo>
                      <a:lnTo>
                        <a:pt x="131025" y="270510"/>
                      </a:lnTo>
                      <a:lnTo>
                        <a:pt x="137426" y="273050"/>
                      </a:lnTo>
                      <a:lnTo>
                        <a:pt x="143217" y="276860"/>
                      </a:lnTo>
                      <a:lnTo>
                        <a:pt x="149339" y="278130"/>
                      </a:lnTo>
                      <a:lnTo>
                        <a:pt x="155613" y="278130"/>
                      </a:lnTo>
                      <a:lnTo>
                        <a:pt x="161912" y="276860"/>
                      </a:lnTo>
                      <a:lnTo>
                        <a:pt x="164363" y="276860"/>
                      </a:lnTo>
                      <a:lnTo>
                        <a:pt x="166700" y="275590"/>
                      </a:lnTo>
                      <a:lnTo>
                        <a:pt x="168884" y="274320"/>
                      </a:lnTo>
                      <a:lnTo>
                        <a:pt x="171653" y="280670"/>
                      </a:lnTo>
                      <a:lnTo>
                        <a:pt x="176161" y="284480"/>
                      </a:lnTo>
                      <a:lnTo>
                        <a:pt x="187032" y="290830"/>
                      </a:lnTo>
                      <a:lnTo>
                        <a:pt x="192582" y="292100"/>
                      </a:lnTo>
                      <a:lnTo>
                        <a:pt x="205803" y="292100"/>
                      </a:lnTo>
                      <a:lnTo>
                        <a:pt x="213398" y="289560"/>
                      </a:lnTo>
                      <a:lnTo>
                        <a:pt x="219329" y="284480"/>
                      </a:lnTo>
                      <a:lnTo>
                        <a:pt x="252704" y="303530"/>
                      </a:lnTo>
                      <a:lnTo>
                        <a:pt x="258254" y="304800"/>
                      </a:lnTo>
                      <a:lnTo>
                        <a:pt x="271970" y="304800"/>
                      </a:lnTo>
                      <a:lnTo>
                        <a:pt x="295948" y="275590"/>
                      </a:lnTo>
                      <a:lnTo>
                        <a:pt x="302691" y="279400"/>
                      </a:lnTo>
                      <a:lnTo>
                        <a:pt x="310210" y="279400"/>
                      </a:lnTo>
                      <a:lnTo>
                        <a:pt x="325818" y="275590"/>
                      </a:lnTo>
                      <a:lnTo>
                        <a:pt x="332790" y="270510"/>
                      </a:lnTo>
                      <a:lnTo>
                        <a:pt x="338594" y="260350"/>
                      </a:lnTo>
                      <a:lnTo>
                        <a:pt x="340042" y="257810"/>
                      </a:lnTo>
                      <a:lnTo>
                        <a:pt x="341439" y="251460"/>
                      </a:lnTo>
                      <a:lnTo>
                        <a:pt x="341401" y="246380"/>
                      </a:lnTo>
                      <a:lnTo>
                        <a:pt x="350685" y="246380"/>
                      </a:lnTo>
                      <a:lnTo>
                        <a:pt x="377444" y="215900"/>
                      </a:lnTo>
                      <a:lnTo>
                        <a:pt x="388454" y="218440"/>
                      </a:lnTo>
                      <a:lnTo>
                        <a:pt x="419569" y="195580"/>
                      </a:lnTo>
                      <a:lnTo>
                        <a:pt x="420903" y="189230"/>
                      </a:lnTo>
                      <a:lnTo>
                        <a:pt x="420344" y="182880"/>
                      </a:lnTo>
                      <a:lnTo>
                        <a:pt x="465963" y="166370"/>
                      </a:lnTo>
                      <a:lnTo>
                        <a:pt x="476491" y="162560"/>
                      </a:lnTo>
                      <a:lnTo>
                        <a:pt x="478942" y="157480"/>
                      </a:lnTo>
                      <a:close/>
                    </a:path>
                  </a:pathLst>
                </a:custGeom>
                <a:grpFill/>
                <a:ln>
                  <a:solidFill>
                    <a:schemeClr val="accent1"/>
                  </a:solidFill>
                </a:ln>
              </p:spPr>
              <p:txBody>
                <a:bodyPr wrap="square" lIns="0" tIns="0" rIns="0" bIns="0" rtlCol="0"/>
                <a:lstStyle/>
                <a:p>
                  <a:pPr defTabSz="619323">
                    <a:defRPr/>
                  </a:pPr>
                  <a:endParaRPr lang="en-US" sz="1219" dirty="0">
                    <a:latin typeface="Calibri"/>
                  </a:endParaRPr>
                </a:p>
              </p:txBody>
            </p:sp>
            <p:sp>
              <p:nvSpPr>
                <p:cNvPr id="160" name="object 64">
                  <a:extLst>
                    <a:ext uri="{FF2B5EF4-FFF2-40B4-BE49-F238E27FC236}">
                      <a16:creationId xmlns:a16="http://schemas.microsoft.com/office/drawing/2014/main" id="{5A499E13-DCF1-512B-9D3E-F32DE8108992}"/>
                    </a:ext>
                  </a:extLst>
                </p:cNvPr>
                <p:cNvSpPr/>
                <p:nvPr/>
              </p:nvSpPr>
              <p:spPr>
                <a:xfrm>
                  <a:off x="5256406" y="2108521"/>
                  <a:ext cx="677545" cy="67754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677545" h="677544">
                      <a:moveTo>
                        <a:pt x="338531" y="677049"/>
                      </a:moveTo>
                      <a:lnTo>
                        <a:pt x="384468" y="673959"/>
                      </a:lnTo>
                      <a:lnTo>
                        <a:pt x="428527" y="664957"/>
                      </a:lnTo>
                      <a:lnTo>
                        <a:pt x="470304" y="650446"/>
                      </a:lnTo>
                      <a:lnTo>
                        <a:pt x="509396" y="630831"/>
                      </a:lnTo>
                      <a:lnTo>
                        <a:pt x="545399" y="606513"/>
                      </a:lnTo>
                      <a:lnTo>
                        <a:pt x="577910" y="577897"/>
                      </a:lnTo>
                      <a:lnTo>
                        <a:pt x="606526" y="545386"/>
                      </a:lnTo>
                      <a:lnTo>
                        <a:pt x="630843" y="509383"/>
                      </a:lnTo>
                      <a:lnTo>
                        <a:pt x="650459" y="470291"/>
                      </a:lnTo>
                      <a:lnTo>
                        <a:pt x="664970" y="428514"/>
                      </a:lnTo>
                      <a:lnTo>
                        <a:pt x="673972" y="384455"/>
                      </a:lnTo>
                      <a:lnTo>
                        <a:pt x="677062" y="338518"/>
                      </a:lnTo>
                      <a:lnTo>
                        <a:pt x="673972" y="292583"/>
                      </a:lnTo>
                      <a:lnTo>
                        <a:pt x="664970" y="248527"/>
                      </a:lnTo>
                      <a:lnTo>
                        <a:pt x="650459" y="206752"/>
                      </a:lnTo>
                      <a:lnTo>
                        <a:pt x="630843" y="167662"/>
                      </a:lnTo>
                      <a:lnTo>
                        <a:pt x="606526" y="131660"/>
                      </a:lnTo>
                      <a:lnTo>
                        <a:pt x="577910" y="99150"/>
                      </a:lnTo>
                      <a:lnTo>
                        <a:pt x="545399" y="70535"/>
                      </a:lnTo>
                      <a:lnTo>
                        <a:pt x="509396" y="46218"/>
                      </a:lnTo>
                      <a:lnTo>
                        <a:pt x="470304" y="26602"/>
                      </a:lnTo>
                      <a:lnTo>
                        <a:pt x="428527" y="12092"/>
                      </a:lnTo>
                      <a:lnTo>
                        <a:pt x="384468" y="3090"/>
                      </a:lnTo>
                      <a:lnTo>
                        <a:pt x="338531" y="0"/>
                      </a:lnTo>
                      <a:lnTo>
                        <a:pt x="292596" y="3090"/>
                      </a:lnTo>
                      <a:lnTo>
                        <a:pt x="248539" y="12092"/>
                      </a:lnTo>
                      <a:lnTo>
                        <a:pt x="206763" y="26602"/>
                      </a:lnTo>
                      <a:lnTo>
                        <a:pt x="167671" y="46218"/>
                      </a:lnTo>
                      <a:lnTo>
                        <a:pt x="131668" y="70535"/>
                      </a:lnTo>
                      <a:lnTo>
                        <a:pt x="99156" y="99150"/>
                      </a:lnTo>
                      <a:lnTo>
                        <a:pt x="70539" y="131660"/>
                      </a:lnTo>
                      <a:lnTo>
                        <a:pt x="46221" y="167662"/>
                      </a:lnTo>
                      <a:lnTo>
                        <a:pt x="26604" y="206752"/>
                      </a:lnTo>
                      <a:lnTo>
                        <a:pt x="12093" y="248527"/>
                      </a:lnTo>
                      <a:lnTo>
                        <a:pt x="3090" y="292583"/>
                      </a:lnTo>
                      <a:lnTo>
                        <a:pt x="0" y="338518"/>
                      </a:lnTo>
                      <a:lnTo>
                        <a:pt x="3090" y="384455"/>
                      </a:lnTo>
                      <a:lnTo>
                        <a:pt x="12093" y="428514"/>
                      </a:lnTo>
                      <a:lnTo>
                        <a:pt x="26604" y="470291"/>
                      </a:lnTo>
                      <a:lnTo>
                        <a:pt x="46221" y="509383"/>
                      </a:lnTo>
                      <a:lnTo>
                        <a:pt x="70539" y="545386"/>
                      </a:lnTo>
                      <a:lnTo>
                        <a:pt x="99156" y="577897"/>
                      </a:lnTo>
                      <a:lnTo>
                        <a:pt x="131668" y="606513"/>
                      </a:lnTo>
                      <a:lnTo>
                        <a:pt x="167671" y="630831"/>
                      </a:lnTo>
                      <a:lnTo>
                        <a:pt x="206763" y="650446"/>
                      </a:lnTo>
                      <a:lnTo>
                        <a:pt x="248539" y="664957"/>
                      </a:lnTo>
                      <a:lnTo>
                        <a:pt x="292596" y="673959"/>
                      </a:lnTo>
                      <a:lnTo>
                        <a:pt x="338531" y="677049"/>
                      </a:lnTo>
                      <a:close/>
                    </a:path>
                  </a:pathLst>
                </a:custGeom>
                <a:grpFill/>
                <a:ln w="12699">
                  <a:solidFill>
                    <a:schemeClr val="accent1"/>
                  </a:solidFill>
                </a:ln>
              </p:spPr>
              <p:txBody>
                <a:bodyPr wrap="square" lIns="0" tIns="0" rIns="0" bIns="0" rtlCol="0"/>
                <a:lstStyle/>
                <a:p>
                  <a:pPr defTabSz="619323">
                    <a:defRPr/>
                  </a:pPr>
                  <a:endParaRPr lang="en-US" sz="1219" dirty="0">
                    <a:latin typeface="Calibri"/>
                  </a:endParaRPr>
                </a:p>
              </p:txBody>
            </p:sp>
          </p:grpSp>
          <p:pic>
            <p:nvPicPr>
              <p:cNvPr id="141" name="Immagine 293" descr="Immagine che contiene cerchio, Elementi grafici, oscurità&#10;&#10;Descrizione generata automaticamente">
                <a:extLst>
                  <a:ext uri="{FF2B5EF4-FFF2-40B4-BE49-F238E27FC236}">
                    <a16:creationId xmlns:a16="http://schemas.microsoft.com/office/drawing/2014/main" id="{F085B766-E792-3109-5B32-7399BF6497D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9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6707475" y="922440"/>
                <a:ext cx="353424" cy="353425"/>
              </a:xfrm>
              <a:prstGeom prst="rect">
                <a:avLst/>
              </a:prstGeom>
            </p:spPr>
          </p:pic>
        </p:grpSp>
      </p:grpSp>
      <p:grpSp>
        <p:nvGrpSpPr>
          <p:cNvPr id="40" name="Group 39">
            <a:extLst>
              <a:ext uri="{FF2B5EF4-FFF2-40B4-BE49-F238E27FC236}">
                <a16:creationId xmlns:a16="http://schemas.microsoft.com/office/drawing/2014/main" id="{EFEC1527-35AE-3EE1-96D8-CA26F2C0D55C}"/>
              </a:ext>
            </a:extLst>
          </p:cNvPr>
          <p:cNvGrpSpPr/>
          <p:nvPr/>
        </p:nvGrpSpPr>
        <p:grpSpPr>
          <a:xfrm>
            <a:off x="6491230" y="2520104"/>
            <a:ext cx="2169983" cy="683538"/>
            <a:chOff x="6655615" y="1929432"/>
            <a:chExt cx="2169983" cy="683538"/>
          </a:xfrm>
        </p:grpSpPr>
        <p:sp>
          <p:nvSpPr>
            <p:cNvPr id="21" name="Arrow: Pentagon 20">
              <a:extLst>
                <a:ext uri="{FF2B5EF4-FFF2-40B4-BE49-F238E27FC236}">
                  <a16:creationId xmlns:a16="http://schemas.microsoft.com/office/drawing/2014/main" id="{540C7FD0-810E-D118-7987-C4FF25C5EB92}"/>
                </a:ext>
              </a:extLst>
            </p:cNvPr>
            <p:cNvSpPr/>
            <p:nvPr/>
          </p:nvSpPr>
          <p:spPr>
            <a:xfrm flipH="1">
              <a:off x="7043609" y="1929432"/>
              <a:ext cx="1781989" cy="683538"/>
            </a:xfrm>
            <a:prstGeom prst="homePlate">
              <a:avLst>
                <a:gd name="adj" fmla="val 28632"/>
              </a:avLst>
            </a:prstGeom>
            <a:noFill/>
            <a:ln w="19050">
              <a:solidFill>
                <a:schemeClr val="tx2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Ins="36000" rtlCol="0" anchor="ctr"/>
            <a:lstStyle/>
            <a:p>
              <a:pPr defTabSz="619323">
                <a:defRPr/>
              </a:pPr>
              <a:r>
                <a:rPr lang="en-US" sz="2000" b="1" dirty="0">
                  <a:solidFill>
                    <a:schemeClr val="tx1"/>
                  </a:solidFill>
                  <a:latin typeface="Calibri"/>
                </a:rPr>
                <a:t>€220+ </a:t>
              </a:r>
              <a:r>
                <a:rPr lang="en-US" sz="1100" dirty="0">
                  <a:solidFill>
                    <a:schemeClr val="tx1"/>
                  </a:solidFill>
                  <a:latin typeface="Calibri"/>
                </a:rPr>
                <a:t>million</a:t>
              </a:r>
            </a:p>
            <a:p>
              <a:pPr defTabSz="619323">
                <a:defRPr/>
              </a:pPr>
              <a:r>
                <a:rPr lang="en-US" sz="1100" dirty="0">
                  <a:solidFill>
                    <a:schemeClr val="tx1"/>
                  </a:solidFill>
                  <a:latin typeface="Calibri"/>
                </a:rPr>
                <a:t>value of transaction at the end of 2023</a:t>
              </a:r>
            </a:p>
          </p:txBody>
        </p:sp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B6D814A1-5B93-CC42-73C2-F48C50FCFA4B}"/>
                </a:ext>
              </a:extLst>
            </p:cNvPr>
            <p:cNvGrpSpPr/>
            <p:nvPr/>
          </p:nvGrpSpPr>
          <p:grpSpPr>
            <a:xfrm>
              <a:off x="6655615" y="2037380"/>
              <a:ext cx="467195" cy="467643"/>
              <a:chOff x="6660967" y="2096452"/>
              <a:chExt cx="467195" cy="467643"/>
            </a:xfrm>
          </p:grpSpPr>
          <p:pic>
            <p:nvPicPr>
              <p:cNvPr id="139" name="object 53">
                <a:extLst>
                  <a:ext uri="{FF2B5EF4-FFF2-40B4-BE49-F238E27FC236}">
                    <a16:creationId xmlns:a16="http://schemas.microsoft.com/office/drawing/2014/main" id="{772799BE-6A52-F69C-1D02-B9D553640351}"/>
                  </a:ext>
                </a:extLst>
              </p:cNvPr>
              <p:cNvPicPr/>
              <p:nvPr/>
            </p:nvPicPr>
            <p:blipFill>
              <a:blip r:embed="rId20" cstate="print"/>
              <a:stretch>
                <a:fillRect/>
              </a:stretch>
            </p:blipFill>
            <p:spPr>
              <a:xfrm>
                <a:off x="6660967" y="2096908"/>
                <a:ext cx="467195" cy="467187"/>
              </a:xfrm>
              <a:prstGeom prst="rect">
                <a:avLst/>
              </a:prstGeom>
              <a:noFill/>
            </p:spPr>
          </p:pic>
          <p:sp>
            <p:nvSpPr>
              <p:cNvPr id="155" name="object 39">
                <a:extLst>
                  <a:ext uri="{FF2B5EF4-FFF2-40B4-BE49-F238E27FC236}">
                    <a16:creationId xmlns:a16="http://schemas.microsoft.com/office/drawing/2014/main" id="{F96144BD-BF4F-2750-E693-9B004AAD9D2F}"/>
                  </a:ext>
                </a:extLst>
              </p:cNvPr>
              <p:cNvSpPr/>
              <p:nvPr/>
            </p:nvSpPr>
            <p:spPr>
              <a:xfrm>
                <a:off x="6663216" y="2096452"/>
                <a:ext cx="458920" cy="458920"/>
              </a:xfrm>
              <a:custGeom>
                <a:avLst/>
                <a:gdLst/>
                <a:ahLst/>
                <a:cxnLst/>
                <a:rect l="l" t="t" r="r" b="b"/>
                <a:pathLst>
                  <a:path w="677544" h="677545">
                    <a:moveTo>
                      <a:pt x="338531" y="0"/>
                    </a:moveTo>
                    <a:lnTo>
                      <a:pt x="292593" y="3090"/>
                    </a:lnTo>
                    <a:lnTo>
                      <a:pt x="248534" y="12092"/>
                    </a:lnTo>
                    <a:lnTo>
                      <a:pt x="206757" y="26602"/>
                    </a:lnTo>
                    <a:lnTo>
                      <a:pt x="167666" y="46218"/>
                    </a:lnTo>
                    <a:lnTo>
                      <a:pt x="131663" y="70536"/>
                    </a:lnTo>
                    <a:lnTo>
                      <a:pt x="99152" y="99152"/>
                    </a:lnTo>
                    <a:lnTo>
                      <a:pt x="70536" y="131663"/>
                    </a:lnTo>
                    <a:lnTo>
                      <a:pt x="46218" y="167666"/>
                    </a:lnTo>
                    <a:lnTo>
                      <a:pt x="26602" y="206757"/>
                    </a:lnTo>
                    <a:lnTo>
                      <a:pt x="12092" y="248534"/>
                    </a:lnTo>
                    <a:lnTo>
                      <a:pt x="3090" y="292593"/>
                    </a:lnTo>
                    <a:lnTo>
                      <a:pt x="0" y="338531"/>
                    </a:lnTo>
                    <a:lnTo>
                      <a:pt x="3090" y="384468"/>
                    </a:lnTo>
                    <a:lnTo>
                      <a:pt x="12092" y="428527"/>
                    </a:lnTo>
                    <a:lnTo>
                      <a:pt x="26602" y="470304"/>
                    </a:lnTo>
                    <a:lnTo>
                      <a:pt x="46218" y="509396"/>
                    </a:lnTo>
                    <a:lnTo>
                      <a:pt x="70536" y="545399"/>
                    </a:lnTo>
                    <a:lnTo>
                      <a:pt x="99152" y="577910"/>
                    </a:lnTo>
                    <a:lnTo>
                      <a:pt x="131663" y="606526"/>
                    </a:lnTo>
                    <a:lnTo>
                      <a:pt x="167666" y="630843"/>
                    </a:lnTo>
                    <a:lnTo>
                      <a:pt x="206757" y="650459"/>
                    </a:lnTo>
                    <a:lnTo>
                      <a:pt x="248534" y="664970"/>
                    </a:lnTo>
                    <a:lnTo>
                      <a:pt x="292593" y="673972"/>
                    </a:lnTo>
                    <a:lnTo>
                      <a:pt x="338531" y="677062"/>
                    </a:lnTo>
                    <a:lnTo>
                      <a:pt x="384465" y="673972"/>
                    </a:lnTo>
                    <a:lnTo>
                      <a:pt x="428522" y="664970"/>
                    </a:lnTo>
                    <a:lnTo>
                      <a:pt x="470297" y="650459"/>
                    </a:lnTo>
                    <a:lnTo>
                      <a:pt x="509387" y="630843"/>
                    </a:lnTo>
                    <a:lnTo>
                      <a:pt x="545388" y="606526"/>
                    </a:lnTo>
                    <a:lnTo>
                      <a:pt x="577899" y="577910"/>
                    </a:lnTo>
                    <a:lnTo>
                      <a:pt x="606514" y="545399"/>
                    </a:lnTo>
                    <a:lnTo>
                      <a:pt x="630831" y="509396"/>
                    </a:lnTo>
                    <a:lnTo>
                      <a:pt x="650446" y="470304"/>
                    </a:lnTo>
                    <a:lnTo>
                      <a:pt x="664957" y="428527"/>
                    </a:lnTo>
                    <a:lnTo>
                      <a:pt x="673959" y="384468"/>
                    </a:lnTo>
                    <a:lnTo>
                      <a:pt x="677049" y="338531"/>
                    </a:lnTo>
                    <a:lnTo>
                      <a:pt x="673959" y="292593"/>
                    </a:lnTo>
                    <a:lnTo>
                      <a:pt x="664957" y="248534"/>
                    </a:lnTo>
                    <a:lnTo>
                      <a:pt x="650446" y="206757"/>
                    </a:lnTo>
                    <a:lnTo>
                      <a:pt x="630831" y="167666"/>
                    </a:lnTo>
                    <a:lnTo>
                      <a:pt x="606514" y="131663"/>
                    </a:lnTo>
                    <a:lnTo>
                      <a:pt x="577899" y="99152"/>
                    </a:lnTo>
                    <a:lnTo>
                      <a:pt x="545388" y="70536"/>
                    </a:lnTo>
                    <a:lnTo>
                      <a:pt x="509387" y="46218"/>
                    </a:lnTo>
                    <a:lnTo>
                      <a:pt x="470297" y="26602"/>
                    </a:lnTo>
                    <a:lnTo>
                      <a:pt x="428522" y="12092"/>
                    </a:lnTo>
                    <a:lnTo>
                      <a:pt x="384465" y="3090"/>
                    </a:lnTo>
                    <a:lnTo>
                      <a:pt x="338531" y="0"/>
                    </a:lnTo>
                    <a:close/>
                  </a:path>
                </a:pathLst>
              </a:custGeom>
              <a:noFill/>
              <a:ln>
                <a:solidFill>
                  <a:schemeClr val="accent1"/>
                </a:solidFill>
              </a:ln>
            </p:spPr>
            <p:txBody>
              <a:bodyPr wrap="square" lIns="0" tIns="0" rIns="0" bIns="0" rtlCol="0"/>
              <a:lstStyle/>
              <a:p>
                <a:pPr defTabSz="619323">
                  <a:defRPr/>
                </a:pPr>
                <a:endParaRPr lang="en-US" sz="1219" dirty="0">
                  <a:latin typeface="Calibri"/>
                </a:endParaRPr>
              </a:p>
            </p:txBody>
          </p:sp>
          <p:sp>
            <p:nvSpPr>
              <p:cNvPr id="157" name="object 41">
                <a:extLst>
                  <a:ext uri="{FF2B5EF4-FFF2-40B4-BE49-F238E27FC236}">
                    <a16:creationId xmlns:a16="http://schemas.microsoft.com/office/drawing/2014/main" id="{25510C40-D7FA-DCE3-DC7D-9231801B2A8F}"/>
                  </a:ext>
                </a:extLst>
              </p:cNvPr>
              <p:cNvSpPr/>
              <p:nvPr/>
            </p:nvSpPr>
            <p:spPr>
              <a:xfrm>
                <a:off x="6663216" y="2096452"/>
                <a:ext cx="458920" cy="458920"/>
              </a:xfrm>
              <a:custGeom>
                <a:avLst/>
                <a:gdLst/>
                <a:ahLst/>
                <a:cxnLst/>
                <a:rect l="l" t="t" r="r" b="b"/>
                <a:pathLst>
                  <a:path w="677544" h="677545">
                    <a:moveTo>
                      <a:pt x="0" y="338531"/>
                    </a:moveTo>
                    <a:lnTo>
                      <a:pt x="3090" y="384468"/>
                    </a:lnTo>
                    <a:lnTo>
                      <a:pt x="12092" y="428527"/>
                    </a:lnTo>
                    <a:lnTo>
                      <a:pt x="26602" y="470304"/>
                    </a:lnTo>
                    <a:lnTo>
                      <a:pt x="46218" y="509396"/>
                    </a:lnTo>
                    <a:lnTo>
                      <a:pt x="70536" y="545399"/>
                    </a:lnTo>
                    <a:lnTo>
                      <a:pt x="99152" y="577910"/>
                    </a:lnTo>
                    <a:lnTo>
                      <a:pt x="131663" y="606526"/>
                    </a:lnTo>
                    <a:lnTo>
                      <a:pt x="167666" y="630843"/>
                    </a:lnTo>
                    <a:lnTo>
                      <a:pt x="206757" y="650459"/>
                    </a:lnTo>
                    <a:lnTo>
                      <a:pt x="248534" y="664970"/>
                    </a:lnTo>
                    <a:lnTo>
                      <a:pt x="292593" y="673972"/>
                    </a:lnTo>
                    <a:lnTo>
                      <a:pt x="338531" y="677062"/>
                    </a:lnTo>
                    <a:lnTo>
                      <a:pt x="384465" y="673972"/>
                    </a:lnTo>
                    <a:lnTo>
                      <a:pt x="428522" y="664970"/>
                    </a:lnTo>
                    <a:lnTo>
                      <a:pt x="470297" y="650459"/>
                    </a:lnTo>
                    <a:lnTo>
                      <a:pt x="509387" y="630843"/>
                    </a:lnTo>
                    <a:lnTo>
                      <a:pt x="545388" y="606526"/>
                    </a:lnTo>
                    <a:lnTo>
                      <a:pt x="577899" y="577910"/>
                    </a:lnTo>
                    <a:lnTo>
                      <a:pt x="606514" y="545399"/>
                    </a:lnTo>
                    <a:lnTo>
                      <a:pt x="630831" y="509396"/>
                    </a:lnTo>
                    <a:lnTo>
                      <a:pt x="650446" y="470304"/>
                    </a:lnTo>
                    <a:lnTo>
                      <a:pt x="664957" y="428527"/>
                    </a:lnTo>
                    <a:lnTo>
                      <a:pt x="673959" y="384468"/>
                    </a:lnTo>
                    <a:lnTo>
                      <a:pt x="677049" y="338531"/>
                    </a:lnTo>
                    <a:lnTo>
                      <a:pt x="673959" y="292593"/>
                    </a:lnTo>
                    <a:lnTo>
                      <a:pt x="664957" y="248534"/>
                    </a:lnTo>
                    <a:lnTo>
                      <a:pt x="650446" y="206757"/>
                    </a:lnTo>
                    <a:lnTo>
                      <a:pt x="630831" y="167666"/>
                    </a:lnTo>
                    <a:lnTo>
                      <a:pt x="606514" y="131663"/>
                    </a:lnTo>
                    <a:lnTo>
                      <a:pt x="577899" y="99152"/>
                    </a:lnTo>
                    <a:lnTo>
                      <a:pt x="545388" y="70536"/>
                    </a:lnTo>
                    <a:lnTo>
                      <a:pt x="509387" y="46218"/>
                    </a:lnTo>
                    <a:lnTo>
                      <a:pt x="470297" y="26602"/>
                    </a:lnTo>
                    <a:lnTo>
                      <a:pt x="428522" y="12092"/>
                    </a:lnTo>
                    <a:lnTo>
                      <a:pt x="384465" y="3090"/>
                    </a:lnTo>
                    <a:lnTo>
                      <a:pt x="338531" y="0"/>
                    </a:lnTo>
                    <a:lnTo>
                      <a:pt x="292593" y="3090"/>
                    </a:lnTo>
                    <a:lnTo>
                      <a:pt x="248534" y="12092"/>
                    </a:lnTo>
                    <a:lnTo>
                      <a:pt x="206757" y="26602"/>
                    </a:lnTo>
                    <a:lnTo>
                      <a:pt x="167666" y="46218"/>
                    </a:lnTo>
                    <a:lnTo>
                      <a:pt x="131663" y="70536"/>
                    </a:lnTo>
                    <a:lnTo>
                      <a:pt x="99152" y="99152"/>
                    </a:lnTo>
                    <a:lnTo>
                      <a:pt x="70536" y="131663"/>
                    </a:lnTo>
                    <a:lnTo>
                      <a:pt x="46218" y="167666"/>
                    </a:lnTo>
                    <a:lnTo>
                      <a:pt x="26602" y="206757"/>
                    </a:lnTo>
                    <a:lnTo>
                      <a:pt x="12092" y="248534"/>
                    </a:lnTo>
                    <a:lnTo>
                      <a:pt x="3090" y="292593"/>
                    </a:lnTo>
                    <a:lnTo>
                      <a:pt x="0" y="338531"/>
                    </a:lnTo>
                    <a:close/>
                  </a:path>
                </a:pathLst>
              </a:custGeom>
              <a:noFill/>
              <a:ln w="12699">
                <a:solidFill>
                  <a:schemeClr val="accent1"/>
                </a:solidFill>
              </a:ln>
            </p:spPr>
            <p:txBody>
              <a:bodyPr wrap="square" lIns="0" tIns="0" rIns="0" bIns="0" rtlCol="0"/>
              <a:lstStyle/>
              <a:p>
                <a:pPr defTabSz="619323">
                  <a:defRPr/>
                </a:pPr>
                <a:endParaRPr lang="en-US" sz="1219" dirty="0">
                  <a:latin typeface="Calibri"/>
                </a:endParaRPr>
              </a:p>
            </p:txBody>
          </p:sp>
        </p:grpSp>
      </p:grpSp>
      <p:grpSp>
        <p:nvGrpSpPr>
          <p:cNvPr id="38" name="Group 37">
            <a:extLst>
              <a:ext uri="{FF2B5EF4-FFF2-40B4-BE49-F238E27FC236}">
                <a16:creationId xmlns:a16="http://schemas.microsoft.com/office/drawing/2014/main" id="{548664CB-B615-63A3-5B4C-941596BC7E3F}"/>
              </a:ext>
            </a:extLst>
          </p:cNvPr>
          <p:cNvGrpSpPr/>
          <p:nvPr/>
        </p:nvGrpSpPr>
        <p:grpSpPr>
          <a:xfrm>
            <a:off x="6495367" y="3989808"/>
            <a:ext cx="2165846" cy="683538"/>
            <a:chOff x="6659752" y="3518968"/>
            <a:chExt cx="2165846" cy="683538"/>
          </a:xfrm>
        </p:grpSpPr>
        <p:sp>
          <p:nvSpPr>
            <p:cNvPr id="24" name="Arrow: Pentagon 23">
              <a:extLst>
                <a:ext uri="{FF2B5EF4-FFF2-40B4-BE49-F238E27FC236}">
                  <a16:creationId xmlns:a16="http://schemas.microsoft.com/office/drawing/2014/main" id="{3996545B-1AEB-A145-D416-74C3CF1F10F1}"/>
                </a:ext>
              </a:extLst>
            </p:cNvPr>
            <p:cNvSpPr/>
            <p:nvPr/>
          </p:nvSpPr>
          <p:spPr>
            <a:xfrm flipH="1">
              <a:off x="7043609" y="3518968"/>
              <a:ext cx="1781989" cy="683538"/>
            </a:xfrm>
            <a:prstGeom prst="homePlate">
              <a:avLst>
                <a:gd name="adj" fmla="val 28632"/>
              </a:avLst>
            </a:prstGeom>
            <a:noFill/>
            <a:ln w="19050">
              <a:solidFill>
                <a:schemeClr val="tx2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Ins="36000" rtlCol="0" anchor="ctr"/>
            <a:lstStyle/>
            <a:p>
              <a:pPr defTabSz="619323">
                <a:defRPr/>
              </a:pPr>
              <a:r>
                <a:rPr lang="en-US" sz="2000" b="1" dirty="0">
                  <a:solidFill>
                    <a:schemeClr val="tx1"/>
                  </a:solidFill>
                  <a:latin typeface="Calibri"/>
                </a:rPr>
                <a:t>1,6</a:t>
              </a:r>
              <a:r>
                <a:rPr lang="en-US" sz="1400" b="1" dirty="0">
                  <a:solidFill>
                    <a:schemeClr val="tx1"/>
                  </a:solidFill>
                  <a:latin typeface="Calibri"/>
                </a:rPr>
                <a:t> </a:t>
              </a:r>
              <a:r>
                <a:rPr lang="en-US" sz="1100" dirty="0">
                  <a:solidFill>
                    <a:schemeClr val="tx1"/>
                  </a:solidFill>
                  <a:latin typeface="Calibri"/>
                </a:rPr>
                <a:t>million</a:t>
              </a:r>
            </a:p>
            <a:p>
              <a:pPr defTabSz="619323">
                <a:defRPr/>
              </a:pPr>
              <a:r>
                <a:rPr lang="en-US" sz="1100" dirty="0">
                  <a:solidFill>
                    <a:schemeClr val="tx1"/>
                  </a:solidFill>
                  <a:latin typeface="Calibri"/>
                </a:rPr>
                <a:t>electronic toll devices in mid-2024</a:t>
              </a:r>
            </a:p>
          </p:txBody>
        </p:sp>
        <p:grpSp>
          <p:nvGrpSpPr>
            <p:cNvPr id="37" name="Group 36">
              <a:extLst>
                <a:ext uri="{FF2B5EF4-FFF2-40B4-BE49-F238E27FC236}">
                  <a16:creationId xmlns:a16="http://schemas.microsoft.com/office/drawing/2014/main" id="{3076F9E2-3815-F8FE-2395-15872E0EC673}"/>
                </a:ext>
              </a:extLst>
            </p:cNvPr>
            <p:cNvGrpSpPr/>
            <p:nvPr/>
          </p:nvGrpSpPr>
          <p:grpSpPr>
            <a:xfrm>
              <a:off x="6659752" y="3631278"/>
              <a:ext cx="458920" cy="458920"/>
              <a:chOff x="6659752" y="3631278"/>
              <a:chExt cx="458920" cy="458920"/>
            </a:xfrm>
          </p:grpSpPr>
          <p:grpSp>
            <p:nvGrpSpPr>
              <p:cNvPr id="137" name="object 38">
                <a:extLst>
                  <a:ext uri="{FF2B5EF4-FFF2-40B4-BE49-F238E27FC236}">
                    <a16:creationId xmlns:a16="http://schemas.microsoft.com/office/drawing/2014/main" id="{8EF48921-06E6-9D71-03D8-7FC0F56A0717}"/>
                  </a:ext>
                </a:extLst>
              </p:cNvPr>
              <p:cNvGrpSpPr/>
              <p:nvPr/>
            </p:nvGrpSpPr>
            <p:grpSpPr>
              <a:xfrm>
                <a:off x="6659752" y="3631278"/>
                <a:ext cx="458920" cy="458920"/>
                <a:chOff x="726347" y="5296301"/>
                <a:chExt cx="677545" cy="677545"/>
              </a:xfrm>
              <a:solidFill>
                <a:schemeClr val="bg1"/>
              </a:solidFill>
            </p:grpSpPr>
            <p:sp>
              <p:nvSpPr>
                <p:cNvPr id="161" name="object 39">
                  <a:extLst>
                    <a:ext uri="{FF2B5EF4-FFF2-40B4-BE49-F238E27FC236}">
                      <a16:creationId xmlns:a16="http://schemas.microsoft.com/office/drawing/2014/main" id="{DFAFB931-8ABB-A464-A48B-5DF0B961282B}"/>
                    </a:ext>
                  </a:extLst>
                </p:cNvPr>
                <p:cNvSpPr/>
                <p:nvPr/>
              </p:nvSpPr>
              <p:spPr>
                <a:xfrm>
                  <a:off x="726347" y="5296301"/>
                  <a:ext cx="677545" cy="67754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677544" h="677545">
                      <a:moveTo>
                        <a:pt x="338531" y="0"/>
                      </a:moveTo>
                      <a:lnTo>
                        <a:pt x="292593" y="3090"/>
                      </a:lnTo>
                      <a:lnTo>
                        <a:pt x="248534" y="12092"/>
                      </a:lnTo>
                      <a:lnTo>
                        <a:pt x="206757" y="26602"/>
                      </a:lnTo>
                      <a:lnTo>
                        <a:pt x="167666" y="46218"/>
                      </a:lnTo>
                      <a:lnTo>
                        <a:pt x="131663" y="70536"/>
                      </a:lnTo>
                      <a:lnTo>
                        <a:pt x="99152" y="99152"/>
                      </a:lnTo>
                      <a:lnTo>
                        <a:pt x="70536" y="131663"/>
                      </a:lnTo>
                      <a:lnTo>
                        <a:pt x="46218" y="167666"/>
                      </a:lnTo>
                      <a:lnTo>
                        <a:pt x="26602" y="206757"/>
                      </a:lnTo>
                      <a:lnTo>
                        <a:pt x="12092" y="248534"/>
                      </a:lnTo>
                      <a:lnTo>
                        <a:pt x="3090" y="292593"/>
                      </a:lnTo>
                      <a:lnTo>
                        <a:pt x="0" y="338531"/>
                      </a:lnTo>
                      <a:lnTo>
                        <a:pt x="3090" y="384468"/>
                      </a:lnTo>
                      <a:lnTo>
                        <a:pt x="12092" y="428527"/>
                      </a:lnTo>
                      <a:lnTo>
                        <a:pt x="26602" y="470304"/>
                      </a:lnTo>
                      <a:lnTo>
                        <a:pt x="46218" y="509396"/>
                      </a:lnTo>
                      <a:lnTo>
                        <a:pt x="70536" y="545399"/>
                      </a:lnTo>
                      <a:lnTo>
                        <a:pt x="99152" y="577910"/>
                      </a:lnTo>
                      <a:lnTo>
                        <a:pt x="131663" y="606526"/>
                      </a:lnTo>
                      <a:lnTo>
                        <a:pt x="167666" y="630843"/>
                      </a:lnTo>
                      <a:lnTo>
                        <a:pt x="206757" y="650459"/>
                      </a:lnTo>
                      <a:lnTo>
                        <a:pt x="248534" y="664970"/>
                      </a:lnTo>
                      <a:lnTo>
                        <a:pt x="292593" y="673972"/>
                      </a:lnTo>
                      <a:lnTo>
                        <a:pt x="338531" y="677062"/>
                      </a:lnTo>
                      <a:lnTo>
                        <a:pt x="384465" y="673972"/>
                      </a:lnTo>
                      <a:lnTo>
                        <a:pt x="428522" y="664970"/>
                      </a:lnTo>
                      <a:lnTo>
                        <a:pt x="470297" y="650459"/>
                      </a:lnTo>
                      <a:lnTo>
                        <a:pt x="509387" y="630843"/>
                      </a:lnTo>
                      <a:lnTo>
                        <a:pt x="545388" y="606526"/>
                      </a:lnTo>
                      <a:lnTo>
                        <a:pt x="577899" y="577910"/>
                      </a:lnTo>
                      <a:lnTo>
                        <a:pt x="606514" y="545399"/>
                      </a:lnTo>
                      <a:lnTo>
                        <a:pt x="630831" y="509396"/>
                      </a:lnTo>
                      <a:lnTo>
                        <a:pt x="650446" y="470304"/>
                      </a:lnTo>
                      <a:lnTo>
                        <a:pt x="664957" y="428527"/>
                      </a:lnTo>
                      <a:lnTo>
                        <a:pt x="673959" y="384468"/>
                      </a:lnTo>
                      <a:lnTo>
                        <a:pt x="677049" y="338531"/>
                      </a:lnTo>
                      <a:lnTo>
                        <a:pt x="673959" y="292593"/>
                      </a:lnTo>
                      <a:lnTo>
                        <a:pt x="664957" y="248534"/>
                      </a:lnTo>
                      <a:lnTo>
                        <a:pt x="650446" y="206757"/>
                      </a:lnTo>
                      <a:lnTo>
                        <a:pt x="630831" y="167666"/>
                      </a:lnTo>
                      <a:lnTo>
                        <a:pt x="606514" y="131663"/>
                      </a:lnTo>
                      <a:lnTo>
                        <a:pt x="577899" y="99152"/>
                      </a:lnTo>
                      <a:lnTo>
                        <a:pt x="545388" y="70536"/>
                      </a:lnTo>
                      <a:lnTo>
                        <a:pt x="509387" y="46218"/>
                      </a:lnTo>
                      <a:lnTo>
                        <a:pt x="470297" y="26602"/>
                      </a:lnTo>
                      <a:lnTo>
                        <a:pt x="428522" y="12092"/>
                      </a:lnTo>
                      <a:lnTo>
                        <a:pt x="384465" y="3090"/>
                      </a:lnTo>
                      <a:lnTo>
                        <a:pt x="338531" y="0"/>
                      </a:lnTo>
                      <a:close/>
                    </a:path>
                  </a:pathLst>
                </a:custGeom>
                <a:grpFill/>
              </p:spPr>
              <p:txBody>
                <a:bodyPr wrap="square" lIns="0" tIns="0" rIns="0" bIns="0" rtlCol="0"/>
                <a:lstStyle/>
                <a:p>
                  <a:pPr defTabSz="619323">
                    <a:defRPr/>
                  </a:pPr>
                  <a:endParaRPr lang="en-US" sz="1219" dirty="0">
                    <a:latin typeface="Calibri"/>
                  </a:endParaRPr>
                </a:p>
              </p:txBody>
            </p:sp>
            <p:sp>
              <p:nvSpPr>
                <p:cNvPr id="162" name="object 40">
                  <a:extLst>
                    <a:ext uri="{FF2B5EF4-FFF2-40B4-BE49-F238E27FC236}">
                      <a16:creationId xmlns:a16="http://schemas.microsoft.com/office/drawing/2014/main" id="{1F0381AE-C95A-A06C-1F4F-E4EEEE1D9BC9}"/>
                    </a:ext>
                  </a:extLst>
                </p:cNvPr>
                <p:cNvSpPr/>
                <p:nvPr/>
              </p:nvSpPr>
              <p:spPr>
                <a:xfrm>
                  <a:off x="863968" y="5426938"/>
                  <a:ext cx="414655" cy="41529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14655" h="415289">
                      <a:moveTo>
                        <a:pt x="283984" y="245884"/>
                      </a:moveTo>
                      <a:lnTo>
                        <a:pt x="282994" y="241020"/>
                      </a:lnTo>
                      <a:lnTo>
                        <a:pt x="282321" y="237705"/>
                      </a:lnTo>
                      <a:lnTo>
                        <a:pt x="277812" y="231013"/>
                      </a:lnTo>
                      <a:lnTo>
                        <a:pt x="271132" y="226504"/>
                      </a:lnTo>
                      <a:lnTo>
                        <a:pt x="267804" y="225844"/>
                      </a:lnTo>
                      <a:lnTo>
                        <a:pt x="267804" y="243205"/>
                      </a:lnTo>
                      <a:lnTo>
                        <a:pt x="267804" y="248551"/>
                      </a:lnTo>
                      <a:lnTo>
                        <a:pt x="265633" y="250736"/>
                      </a:lnTo>
                      <a:lnTo>
                        <a:pt x="260273" y="250736"/>
                      </a:lnTo>
                      <a:lnTo>
                        <a:pt x="258102" y="248551"/>
                      </a:lnTo>
                      <a:lnTo>
                        <a:pt x="258102" y="243205"/>
                      </a:lnTo>
                      <a:lnTo>
                        <a:pt x="260273" y="241020"/>
                      </a:lnTo>
                      <a:lnTo>
                        <a:pt x="265633" y="241020"/>
                      </a:lnTo>
                      <a:lnTo>
                        <a:pt x="267804" y="243205"/>
                      </a:lnTo>
                      <a:lnTo>
                        <a:pt x="267804" y="225844"/>
                      </a:lnTo>
                      <a:lnTo>
                        <a:pt x="241935" y="245884"/>
                      </a:lnTo>
                      <a:lnTo>
                        <a:pt x="243586" y="254050"/>
                      </a:lnTo>
                      <a:lnTo>
                        <a:pt x="248094" y="260731"/>
                      </a:lnTo>
                      <a:lnTo>
                        <a:pt x="254774" y="265239"/>
                      </a:lnTo>
                      <a:lnTo>
                        <a:pt x="262953" y="266903"/>
                      </a:lnTo>
                      <a:lnTo>
                        <a:pt x="271132" y="265239"/>
                      </a:lnTo>
                      <a:lnTo>
                        <a:pt x="277812" y="260731"/>
                      </a:lnTo>
                      <a:lnTo>
                        <a:pt x="282321" y="254050"/>
                      </a:lnTo>
                      <a:lnTo>
                        <a:pt x="282994" y="250736"/>
                      </a:lnTo>
                      <a:lnTo>
                        <a:pt x="283984" y="245884"/>
                      </a:lnTo>
                      <a:close/>
                    </a:path>
                    <a:path w="414655" h="415289">
                      <a:moveTo>
                        <a:pt x="414032" y="157759"/>
                      </a:moveTo>
                      <a:lnTo>
                        <a:pt x="410845" y="142024"/>
                      </a:lnTo>
                      <a:lnTo>
                        <a:pt x="405091" y="133502"/>
                      </a:lnTo>
                      <a:lnTo>
                        <a:pt x="402170" y="129171"/>
                      </a:lnTo>
                      <a:lnTo>
                        <a:pt x="397852" y="126263"/>
                      </a:lnTo>
                      <a:lnTo>
                        <a:pt x="397852" y="157759"/>
                      </a:lnTo>
                      <a:lnTo>
                        <a:pt x="397852" y="222567"/>
                      </a:lnTo>
                      <a:lnTo>
                        <a:pt x="397852" y="252234"/>
                      </a:lnTo>
                      <a:lnTo>
                        <a:pt x="397852" y="334683"/>
                      </a:lnTo>
                      <a:lnTo>
                        <a:pt x="397840" y="374497"/>
                      </a:lnTo>
                      <a:lnTo>
                        <a:pt x="395935" y="383908"/>
                      </a:lnTo>
                      <a:lnTo>
                        <a:pt x="390728" y="391617"/>
                      </a:lnTo>
                      <a:lnTo>
                        <a:pt x="383019" y="396824"/>
                      </a:lnTo>
                      <a:lnTo>
                        <a:pt x="373595" y="398741"/>
                      </a:lnTo>
                      <a:lnTo>
                        <a:pt x="362254" y="398741"/>
                      </a:lnTo>
                      <a:lnTo>
                        <a:pt x="365658" y="393382"/>
                      </a:lnTo>
                      <a:lnTo>
                        <a:pt x="368211" y="387489"/>
                      </a:lnTo>
                      <a:lnTo>
                        <a:pt x="369798" y="381165"/>
                      </a:lnTo>
                      <a:lnTo>
                        <a:pt x="370357" y="374497"/>
                      </a:lnTo>
                      <a:lnTo>
                        <a:pt x="370357" y="342011"/>
                      </a:lnTo>
                      <a:lnTo>
                        <a:pt x="383654" y="342011"/>
                      </a:lnTo>
                      <a:lnTo>
                        <a:pt x="391477" y="339280"/>
                      </a:lnTo>
                      <a:lnTo>
                        <a:pt x="397852" y="334683"/>
                      </a:lnTo>
                      <a:lnTo>
                        <a:pt x="397852" y="252234"/>
                      </a:lnTo>
                      <a:lnTo>
                        <a:pt x="397840" y="303225"/>
                      </a:lnTo>
                      <a:lnTo>
                        <a:pt x="396062" y="311988"/>
                      </a:lnTo>
                      <a:lnTo>
                        <a:pt x="391210" y="319189"/>
                      </a:lnTo>
                      <a:lnTo>
                        <a:pt x="384009" y="324040"/>
                      </a:lnTo>
                      <a:lnTo>
                        <a:pt x="375208" y="325831"/>
                      </a:lnTo>
                      <a:lnTo>
                        <a:pt x="205397" y="325831"/>
                      </a:lnTo>
                      <a:lnTo>
                        <a:pt x="192176" y="323151"/>
                      </a:lnTo>
                      <a:lnTo>
                        <a:pt x="181381" y="315861"/>
                      </a:lnTo>
                      <a:lnTo>
                        <a:pt x="174104" y="305066"/>
                      </a:lnTo>
                      <a:lnTo>
                        <a:pt x="171437" y="291871"/>
                      </a:lnTo>
                      <a:lnTo>
                        <a:pt x="174104" y="278663"/>
                      </a:lnTo>
                      <a:lnTo>
                        <a:pt x="181381" y="267855"/>
                      </a:lnTo>
                      <a:lnTo>
                        <a:pt x="192176" y="260578"/>
                      </a:lnTo>
                      <a:lnTo>
                        <a:pt x="205397" y="257911"/>
                      </a:lnTo>
                      <a:lnTo>
                        <a:pt x="234365" y="257911"/>
                      </a:lnTo>
                      <a:lnTo>
                        <a:pt x="237985" y="254279"/>
                      </a:lnTo>
                      <a:lnTo>
                        <a:pt x="237985" y="245351"/>
                      </a:lnTo>
                      <a:lnTo>
                        <a:pt x="234365" y="241731"/>
                      </a:lnTo>
                      <a:lnTo>
                        <a:pt x="205397" y="241731"/>
                      </a:lnTo>
                      <a:lnTo>
                        <a:pt x="185889" y="245668"/>
                      </a:lnTo>
                      <a:lnTo>
                        <a:pt x="169951" y="256425"/>
                      </a:lnTo>
                      <a:lnTo>
                        <a:pt x="159194" y="272364"/>
                      </a:lnTo>
                      <a:lnTo>
                        <a:pt x="155257" y="291871"/>
                      </a:lnTo>
                      <a:lnTo>
                        <a:pt x="159194" y="311365"/>
                      </a:lnTo>
                      <a:lnTo>
                        <a:pt x="169951" y="327304"/>
                      </a:lnTo>
                      <a:lnTo>
                        <a:pt x="185889" y="338061"/>
                      </a:lnTo>
                      <a:lnTo>
                        <a:pt x="205397" y="342011"/>
                      </a:lnTo>
                      <a:lnTo>
                        <a:pt x="354190" y="342011"/>
                      </a:lnTo>
                      <a:lnTo>
                        <a:pt x="354190" y="374497"/>
                      </a:lnTo>
                      <a:lnTo>
                        <a:pt x="330301" y="398754"/>
                      </a:lnTo>
                      <a:lnTo>
                        <a:pt x="54991" y="398754"/>
                      </a:lnTo>
                      <a:lnTo>
                        <a:pt x="54940" y="303187"/>
                      </a:lnTo>
                      <a:lnTo>
                        <a:pt x="51358" y="299605"/>
                      </a:lnTo>
                      <a:lnTo>
                        <a:pt x="42430" y="299605"/>
                      </a:lnTo>
                      <a:lnTo>
                        <a:pt x="38849" y="303187"/>
                      </a:lnTo>
                      <a:lnTo>
                        <a:pt x="38811" y="398691"/>
                      </a:lnTo>
                      <a:lnTo>
                        <a:pt x="29946" y="396354"/>
                      </a:lnTo>
                      <a:lnTo>
                        <a:pt x="22745" y="391083"/>
                      </a:lnTo>
                      <a:lnTo>
                        <a:pt x="17919" y="383565"/>
                      </a:lnTo>
                      <a:lnTo>
                        <a:pt x="16167" y="374497"/>
                      </a:lnTo>
                      <a:lnTo>
                        <a:pt x="16167" y="180200"/>
                      </a:lnTo>
                      <a:lnTo>
                        <a:pt x="21348" y="183400"/>
                      </a:lnTo>
                      <a:lnTo>
                        <a:pt x="27444" y="185254"/>
                      </a:lnTo>
                      <a:lnTo>
                        <a:pt x="329933" y="185254"/>
                      </a:lnTo>
                      <a:lnTo>
                        <a:pt x="339356" y="187159"/>
                      </a:lnTo>
                      <a:lnTo>
                        <a:pt x="347065" y="192366"/>
                      </a:lnTo>
                      <a:lnTo>
                        <a:pt x="352272" y="200075"/>
                      </a:lnTo>
                      <a:lnTo>
                        <a:pt x="354190" y="209511"/>
                      </a:lnTo>
                      <a:lnTo>
                        <a:pt x="354190" y="241731"/>
                      </a:lnTo>
                      <a:lnTo>
                        <a:pt x="291249" y="241731"/>
                      </a:lnTo>
                      <a:lnTo>
                        <a:pt x="287629" y="245351"/>
                      </a:lnTo>
                      <a:lnTo>
                        <a:pt x="287629" y="254279"/>
                      </a:lnTo>
                      <a:lnTo>
                        <a:pt x="291249" y="257911"/>
                      </a:lnTo>
                      <a:lnTo>
                        <a:pt x="385749" y="257911"/>
                      </a:lnTo>
                      <a:lnTo>
                        <a:pt x="392328" y="255816"/>
                      </a:lnTo>
                      <a:lnTo>
                        <a:pt x="397852" y="252234"/>
                      </a:lnTo>
                      <a:lnTo>
                        <a:pt x="397852" y="222567"/>
                      </a:lnTo>
                      <a:lnTo>
                        <a:pt x="396341" y="230009"/>
                      </a:lnTo>
                      <a:lnTo>
                        <a:pt x="392226" y="236105"/>
                      </a:lnTo>
                      <a:lnTo>
                        <a:pt x="386130" y="240220"/>
                      </a:lnTo>
                      <a:lnTo>
                        <a:pt x="378688" y="241731"/>
                      </a:lnTo>
                      <a:lnTo>
                        <a:pt x="370357" y="241731"/>
                      </a:lnTo>
                      <a:lnTo>
                        <a:pt x="370357" y="209511"/>
                      </a:lnTo>
                      <a:lnTo>
                        <a:pt x="367245" y="193967"/>
                      </a:lnTo>
                      <a:lnTo>
                        <a:pt x="358775" y="181203"/>
                      </a:lnTo>
                      <a:lnTo>
                        <a:pt x="357301" y="180200"/>
                      </a:lnTo>
                      <a:lnTo>
                        <a:pt x="346189" y="172504"/>
                      </a:lnTo>
                      <a:lnTo>
                        <a:pt x="330771" y="169100"/>
                      </a:lnTo>
                      <a:lnTo>
                        <a:pt x="331063" y="168808"/>
                      </a:lnTo>
                      <a:lnTo>
                        <a:pt x="366369" y="133502"/>
                      </a:lnTo>
                      <a:lnTo>
                        <a:pt x="373595" y="133502"/>
                      </a:lnTo>
                      <a:lnTo>
                        <a:pt x="383019" y="135407"/>
                      </a:lnTo>
                      <a:lnTo>
                        <a:pt x="390728" y="140601"/>
                      </a:lnTo>
                      <a:lnTo>
                        <a:pt x="395935" y="148323"/>
                      </a:lnTo>
                      <a:lnTo>
                        <a:pt x="397852" y="157759"/>
                      </a:lnTo>
                      <a:lnTo>
                        <a:pt x="397852" y="126263"/>
                      </a:lnTo>
                      <a:lnTo>
                        <a:pt x="389318" y="120497"/>
                      </a:lnTo>
                      <a:lnTo>
                        <a:pt x="373595" y="117322"/>
                      </a:lnTo>
                      <a:lnTo>
                        <a:pt x="364883" y="117322"/>
                      </a:lnTo>
                      <a:lnTo>
                        <a:pt x="350837" y="103289"/>
                      </a:lnTo>
                      <a:lnTo>
                        <a:pt x="350837" y="126161"/>
                      </a:lnTo>
                      <a:lnTo>
                        <a:pt x="308178" y="168808"/>
                      </a:lnTo>
                      <a:lnTo>
                        <a:pt x="293382" y="168808"/>
                      </a:lnTo>
                      <a:lnTo>
                        <a:pt x="315899" y="146304"/>
                      </a:lnTo>
                      <a:lnTo>
                        <a:pt x="315899" y="141185"/>
                      </a:lnTo>
                      <a:lnTo>
                        <a:pt x="312737" y="138023"/>
                      </a:lnTo>
                      <a:lnTo>
                        <a:pt x="309054" y="132473"/>
                      </a:lnTo>
                      <a:lnTo>
                        <a:pt x="307822" y="126149"/>
                      </a:lnTo>
                      <a:lnTo>
                        <a:pt x="309054" y="119824"/>
                      </a:lnTo>
                      <a:lnTo>
                        <a:pt x="312737" y="114287"/>
                      </a:lnTo>
                      <a:lnTo>
                        <a:pt x="315899" y="111125"/>
                      </a:lnTo>
                      <a:lnTo>
                        <a:pt x="315899" y="106006"/>
                      </a:lnTo>
                      <a:lnTo>
                        <a:pt x="296291" y="86398"/>
                      </a:lnTo>
                      <a:lnTo>
                        <a:pt x="296291" y="109270"/>
                      </a:lnTo>
                      <a:lnTo>
                        <a:pt x="292811" y="117462"/>
                      </a:lnTo>
                      <a:lnTo>
                        <a:pt x="291655" y="126161"/>
                      </a:lnTo>
                      <a:lnTo>
                        <a:pt x="292811" y="134848"/>
                      </a:lnTo>
                      <a:lnTo>
                        <a:pt x="296291" y="143040"/>
                      </a:lnTo>
                      <a:lnTo>
                        <a:pt x="270510" y="168808"/>
                      </a:lnTo>
                      <a:lnTo>
                        <a:pt x="232181" y="168808"/>
                      </a:lnTo>
                      <a:lnTo>
                        <a:pt x="227291" y="156743"/>
                      </a:lnTo>
                      <a:lnTo>
                        <a:pt x="225412" y="154609"/>
                      </a:lnTo>
                      <a:lnTo>
                        <a:pt x="218833" y="147116"/>
                      </a:lnTo>
                      <a:lnTo>
                        <a:pt x="215341" y="145135"/>
                      </a:lnTo>
                      <a:lnTo>
                        <a:pt x="215341" y="168808"/>
                      </a:lnTo>
                      <a:lnTo>
                        <a:pt x="173634" y="168808"/>
                      </a:lnTo>
                      <a:lnTo>
                        <a:pt x="176923" y="160502"/>
                      </a:lnTo>
                      <a:lnTo>
                        <a:pt x="185026" y="154609"/>
                      </a:lnTo>
                      <a:lnTo>
                        <a:pt x="203949" y="154609"/>
                      </a:lnTo>
                      <a:lnTo>
                        <a:pt x="212051" y="160502"/>
                      </a:lnTo>
                      <a:lnTo>
                        <a:pt x="215341" y="168808"/>
                      </a:lnTo>
                      <a:lnTo>
                        <a:pt x="215341" y="145135"/>
                      </a:lnTo>
                      <a:lnTo>
                        <a:pt x="207632" y="140728"/>
                      </a:lnTo>
                      <a:lnTo>
                        <a:pt x="194487" y="138430"/>
                      </a:lnTo>
                      <a:lnTo>
                        <a:pt x="181330" y="140728"/>
                      </a:lnTo>
                      <a:lnTo>
                        <a:pt x="170129" y="147116"/>
                      </a:lnTo>
                      <a:lnTo>
                        <a:pt x="161671" y="156743"/>
                      </a:lnTo>
                      <a:lnTo>
                        <a:pt x="156781" y="168808"/>
                      </a:lnTo>
                      <a:lnTo>
                        <a:pt x="134353" y="168808"/>
                      </a:lnTo>
                      <a:lnTo>
                        <a:pt x="228206" y="74955"/>
                      </a:lnTo>
                      <a:lnTo>
                        <a:pt x="236385" y="78422"/>
                      </a:lnTo>
                      <a:lnTo>
                        <a:pt x="245084" y="79578"/>
                      </a:lnTo>
                      <a:lnTo>
                        <a:pt x="253784" y="78422"/>
                      </a:lnTo>
                      <a:lnTo>
                        <a:pt x="261975" y="74955"/>
                      </a:lnTo>
                      <a:lnTo>
                        <a:pt x="296291" y="109270"/>
                      </a:lnTo>
                      <a:lnTo>
                        <a:pt x="296291" y="86398"/>
                      </a:lnTo>
                      <a:lnTo>
                        <a:pt x="284848" y="74955"/>
                      </a:lnTo>
                      <a:lnTo>
                        <a:pt x="273316" y="63423"/>
                      </a:lnTo>
                      <a:lnTo>
                        <a:pt x="265239" y="55346"/>
                      </a:lnTo>
                      <a:lnTo>
                        <a:pt x="260121" y="55346"/>
                      </a:lnTo>
                      <a:lnTo>
                        <a:pt x="256959" y="58508"/>
                      </a:lnTo>
                      <a:lnTo>
                        <a:pt x="251409" y="62191"/>
                      </a:lnTo>
                      <a:lnTo>
                        <a:pt x="245084" y="63423"/>
                      </a:lnTo>
                      <a:lnTo>
                        <a:pt x="238760" y="62191"/>
                      </a:lnTo>
                      <a:lnTo>
                        <a:pt x="233222" y="58508"/>
                      </a:lnTo>
                      <a:lnTo>
                        <a:pt x="230060" y="55346"/>
                      </a:lnTo>
                      <a:lnTo>
                        <a:pt x="224942" y="55346"/>
                      </a:lnTo>
                      <a:lnTo>
                        <a:pt x="111480" y="168808"/>
                      </a:lnTo>
                      <a:lnTo>
                        <a:pt x="96685" y="168808"/>
                      </a:lnTo>
                      <a:lnTo>
                        <a:pt x="110998" y="154495"/>
                      </a:lnTo>
                      <a:lnTo>
                        <a:pt x="207810" y="57683"/>
                      </a:lnTo>
                      <a:lnTo>
                        <a:pt x="211264" y="54229"/>
                      </a:lnTo>
                      <a:lnTo>
                        <a:pt x="233019" y="32473"/>
                      </a:lnTo>
                      <a:lnTo>
                        <a:pt x="245097" y="20408"/>
                      </a:lnTo>
                      <a:lnTo>
                        <a:pt x="350837" y="126161"/>
                      </a:lnTo>
                      <a:lnTo>
                        <a:pt x="350837" y="103289"/>
                      </a:lnTo>
                      <a:lnTo>
                        <a:pt x="267957" y="20408"/>
                      </a:lnTo>
                      <a:lnTo>
                        <a:pt x="247650" y="101"/>
                      </a:lnTo>
                      <a:lnTo>
                        <a:pt x="242531" y="101"/>
                      </a:lnTo>
                      <a:lnTo>
                        <a:pt x="210146" y="32473"/>
                      </a:lnTo>
                      <a:lnTo>
                        <a:pt x="196938" y="28943"/>
                      </a:lnTo>
                      <a:lnTo>
                        <a:pt x="196938" y="45681"/>
                      </a:lnTo>
                      <a:lnTo>
                        <a:pt x="188404" y="54229"/>
                      </a:lnTo>
                      <a:lnTo>
                        <a:pt x="175196" y="50698"/>
                      </a:lnTo>
                      <a:lnTo>
                        <a:pt x="175196" y="67424"/>
                      </a:lnTo>
                      <a:lnTo>
                        <a:pt x="88138" y="154495"/>
                      </a:lnTo>
                      <a:lnTo>
                        <a:pt x="109550" y="74561"/>
                      </a:lnTo>
                      <a:lnTo>
                        <a:pt x="115430" y="74663"/>
                      </a:lnTo>
                      <a:lnTo>
                        <a:pt x="115824" y="74561"/>
                      </a:lnTo>
                      <a:lnTo>
                        <a:pt x="121272" y="73164"/>
                      </a:lnTo>
                      <a:lnTo>
                        <a:pt x="131737" y="67119"/>
                      </a:lnTo>
                      <a:lnTo>
                        <a:pt x="135940" y="62826"/>
                      </a:lnTo>
                      <a:lnTo>
                        <a:pt x="138074" y="58966"/>
                      </a:lnTo>
                      <a:lnTo>
                        <a:pt x="138798" y="57683"/>
                      </a:lnTo>
                      <a:lnTo>
                        <a:pt x="175196" y="67424"/>
                      </a:lnTo>
                      <a:lnTo>
                        <a:pt x="175196" y="50698"/>
                      </a:lnTo>
                      <a:lnTo>
                        <a:pt x="134061" y="39662"/>
                      </a:lnTo>
                      <a:lnTo>
                        <a:pt x="131864" y="39954"/>
                      </a:lnTo>
                      <a:lnTo>
                        <a:pt x="128143" y="42100"/>
                      </a:lnTo>
                      <a:lnTo>
                        <a:pt x="126784" y="43865"/>
                      </a:lnTo>
                      <a:lnTo>
                        <a:pt x="125069" y="50266"/>
                      </a:lnTo>
                      <a:lnTo>
                        <a:pt x="122301" y="53886"/>
                      </a:lnTo>
                      <a:lnTo>
                        <a:pt x="114528" y="58369"/>
                      </a:lnTo>
                      <a:lnTo>
                        <a:pt x="110007" y="58966"/>
                      </a:lnTo>
                      <a:lnTo>
                        <a:pt x="101358" y="56654"/>
                      </a:lnTo>
                      <a:lnTo>
                        <a:pt x="96926" y="59207"/>
                      </a:lnTo>
                      <a:lnTo>
                        <a:pt x="67487" y="169075"/>
                      </a:lnTo>
                      <a:lnTo>
                        <a:pt x="56654" y="169075"/>
                      </a:lnTo>
                      <a:lnTo>
                        <a:pt x="66179" y="133502"/>
                      </a:lnTo>
                      <a:lnTo>
                        <a:pt x="96901" y="18872"/>
                      </a:lnTo>
                      <a:lnTo>
                        <a:pt x="196938" y="45681"/>
                      </a:lnTo>
                      <a:lnTo>
                        <a:pt x="196938" y="28943"/>
                      </a:lnTo>
                      <a:lnTo>
                        <a:pt x="159385" y="18872"/>
                      </a:lnTo>
                      <a:lnTo>
                        <a:pt x="88963" y="0"/>
                      </a:lnTo>
                      <a:lnTo>
                        <a:pt x="84531" y="2565"/>
                      </a:lnTo>
                      <a:lnTo>
                        <a:pt x="53784" y="117322"/>
                      </a:lnTo>
                      <a:lnTo>
                        <a:pt x="49441" y="117322"/>
                      </a:lnTo>
                      <a:lnTo>
                        <a:pt x="49441" y="133502"/>
                      </a:lnTo>
                      <a:lnTo>
                        <a:pt x="39916" y="169075"/>
                      </a:lnTo>
                      <a:lnTo>
                        <a:pt x="24155" y="169075"/>
                      </a:lnTo>
                      <a:lnTo>
                        <a:pt x="16167" y="161099"/>
                      </a:lnTo>
                      <a:lnTo>
                        <a:pt x="16167" y="141478"/>
                      </a:lnTo>
                      <a:lnTo>
                        <a:pt x="24155" y="133502"/>
                      </a:lnTo>
                      <a:lnTo>
                        <a:pt x="49441" y="133502"/>
                      </a:lnTo>
                      <a:lnTo>
                        <a:pt x="49441" y="117322"/>
                      </a:lnTo>
                      <a:lnTo>
                        <a:pt x="33959" y="117322"/>
                      </a:lnTo>
                      <a:lnTo>
                        <a:pt x="20739" y="119989"/>
                      </a:lnTo>
                      <a:lnTo>
                        <a:pt x="9944" y="127279"/>
                      </a:lnTo>
                      <a:lnTo>
                        <a:pt x="2705" y="138023"/>
                      </a:lnTo>
                      <a:lnTo>
                        <a:pt x="2590" y="138430"/>
                      </a:lnTo>
                      <a:lnTo>
                        <a:pt x="0" y="151282"/>
                      </a:lnTo>
                      <a:lnTo>
                        <a:pt x="0" y="374497"/>
                      </a:lnTo>
                      <a:lnTo>
                        <a:pt x="3175" y="390207"/>
                      </a:lnTo>
                      <a:lnTo>
                        <a:pt x="11849" y="403072"/>
                      </a:lnTo>
                      <a:lnTo>
                        <a:pt x="24701" y="411746"/>
                      </a:lnTo>
                      <a:lnTo>
                        <a:pt x="40424" y="414934"/>
                      </a:lnTo>
                      <a:lnTo>
                        <a:pt x="373595" y="414921"/>
                      </a:lnTo>
                      <a:lnTo>
                        <a:pt x="389318" y="411734"/>
                      </a:lnTo>
                      <a:lnTo>
                        <a:pt x="402170" y="403059"/>
                      </a:lnTo>
                      <a:lnTo>
                        <a:pt x="405079" y="398754"/>
                      </a:lnTo>
                      <a:lnTo>
                        <a:pt x="410845" y="390207"/>
                      </a:lnTo>
                      <a:lnTo>
                        <a:pt x="414020" y="374497"/>
                      </a:lnTo>
                      <a:lnTo>
                        <a:pt x="414032" y="334683"/>
                      </a:lnTo>
                      <a:lnTo>
                        <a:pt x="414032" y="325831"/>
                      </a:lnTo>
                      <a:lnTo>
                        <a:pt x="414032" y="252234"/>
                      </a:lnTo>
                      <a:lnTo>
                        <a:pt x="414032" y="157759"/>
                      </a:lnTo>
                      <a:close/>
                    </a:path>
                  </a:pathLst>
                </a:custGeom>
                <a:grpFill/>
              </p:spPr>
              <p:txBody>
                <a:bodyPr wrap="square" lIns="0" tIns="0" rIns="0" bIns="0" rtlCol="0"/>
                <a:lstStyle/>
                <a:p>
                  <a:pPr defTabSz="619323">
                    <a:defRPr/>
                  </a:pPr>
                  <a:endParaRPr lang="en-US" sz="1219" dirty="0">
                    <a:latin typeface="Calibri"/>
                  </a:endParaRPr>
                </a:p>
              </p:txBody>
            </p:sp>
            <p:sp>
              <p:nvSpPr>
                <p:cNvPr id="163" name="object 41">
                  <a:extLst>
                    <a:ext uri="{FF2B5EF4-FFF2-40B4-BE49-F238E27FC236}">
                      <a16:creationId xmlns:a16="http://schemas.microsoft.com/office/drawing/2014/main" id="{D14393FD-73F5-DF5A-CB72-BC25C0BF138F}"/>
                    </a:ext>
                  </a:extLst>
                </p:cNvPr>
                <p:cNvSpPr/>
                <p:nvPr/>
              </p:nvSpPr>
              <p:spPr>
                <a:xfrm>
                  <a:off x="726347" y="5296301"/>
                  <a:ext cx="677545" cy="67754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677544" h="677545">
                      <a:moveTo>
                        <a:pt x="0" y="338531"/>
                      </a:moveTo>
                      <a:lnTo>
                        <a:pt x="3090" y="384468"/>
                      </a:lnTo>
                      <a:lnTo>
                        <a:pt x="12092" y="428527"/>
                      </a:lnTo>
                      <a:lnTo>
                        <a:pt x="26602" y="470304"/>
                      </a:lnTo>
                      <a:lnTo>
                        <a:pt x="46218" y="509396"/>
                      </a:lnTo>
                      <a:lnTo>
                        <a:pt x="70536" y="545399"/>
                      </a:lnTo>
                      <a:lnTo>
                        <a:pt x="99152" y="577910"/>
                      </a:lnTo>
                      <a:lnTo>
                        <a:pt x="131663" y="606526"/>
                      </a:lnTo>
                      <a:lnTo>
                        <a:pt x="167666" y="630843"/>
                      </a:lnTo>
                      <a:lnTo>
                        <a:pt x="206757" y="650459"/>
                      </a:lnTo>
                      <a:lnTo>
                        <a:pt x="248534" y="664970"/>
                      </a:lnTo>
                      <a:lnTo>
                        <a:pt x="292593" y="673972"/>
                      </a:lnTo>
                      <a:lnTo>
                        <a:pt x="338531" y="677062"/>
                      </a:lnTo>
                      <a:lnTo>
                        <a:pt x="384465" y="673972"/>
                      </a:lnTo>
                      <a:lnTo>
                        <a:pt x="428522" y="664970"/>
                      </a:lnTo>
                      <a:lnTo>
                        <a:pt x="470297" y="650459"/>
                      </a:lnTo>
                      <a:lnTo>
                        <a:pt x="509387" y="630843"/>
                      </a:lnTo>
                      <a:lnTo>
                        <a:pt x="545388" y="606526"/>
                      </a:lnTo>
                      <a:lnTo>
                        <a:pt x="577899" y="577910"/>
                      </a:lnTo>
                      <a:lnTo>
                        <a:pt x="606514" y="545399"/>
                      </a:lnTo>
                      <a:lnTo>
                        <a:pt x="630831" y="509396"/>
                      </a:lnTo>
                      <a:lnTo>
                        <a:pt x="650446" y="470304"/>
                      </a:lnTo>
                      <a:lnTo>
                        <a:pt x="664957" y="428527"/>
                      </a:lnTo>
                      <a:lnTo>
                        <a:pt x="673959" y="384468"/>
                      </a:lnTo>
                      <a:lnTo>
                        <a:pt x="677049" y="338531"/>
                      </a:lnTo>
                      <a:lnTo>
                        <a:pt x="673959" y="292593"/>
                      </a:lnTo>
                      <a:lnTo>
                        <a:pt x="664957" y="248534"/>
                      </a:lnTo>
                      <a:lnTo>
                        <a:pt x="650446" y="206757"/>
                      </a:lnTo>
                      <a:lnTo>
                        <a:pt x="630831" y="167666"/>
                      </a:lnTo>
                      <a:lnTo>
                        <a:pt x="606514" y="131663"/>
                      </a:lnTo>
                      <a:lnTo>
                        <a:pt x="577899" y="99152"/>
                      </a:lnTo>
                      <a:lnTo>
                        <a:pt x="545388" y="70536"/>
                      </a:lnTo>
                      <a:lnTo>
                        <a:pt x="509387" y="46218"/>
                      </a:lnTo>
                      <a:lnTo>
                        <a:pt x="470297" y="26602"/>
                      </a:lnTo>
                      <a:lnTo>
                        <a:pt x="428522" y="12092"/>
                      </a:lnTo>
                      <a:lnTo>
                        <a:pt x="384465" y="3090"/>
                      </a:lnTo>
                      <a:lnTo>
                        <a:pt x="338531" y="0"/>
                      </a:lnTo>
                      <a:lnTo>
                        <a:pt x="292593" y="3090"/>
                      </a:lnTo>
                      <a:lnTo>
                        <a:pt x="248534" y="12092"/>
                      </a:lnTo>
                      <a:lnTo>
                        <a:pt x="206757" y="26602"/>
                      </a:lnTo>
                      <a:lnTo>
                        <a:pt x="167666" y="46218"/>
                      </a:lnTo>
                      <a:lnTo>
                        <a:pt x="131663" y="70536"/>
                      </a:lnTo>
                      <a:lnTo>
                        <a:pt x="99152" y="99152"/>
                      </a:lnTo>
                      <a:lnTo>
                        <a:pt x="70536" y="131663"/>
                      </a:lnTo>
                      <a:lnTo>
                        <a:pt x="46218" y="167666"/>
                      </a:lnTo>
                      <a:lnTo>
                        <a:pt x="26602" y="206757"/>
                      </a:lnTo>
                      <a:lnTo>
                        <a:pt x="12092" y="248534"/>
                      </a:lnTo>
                      <a:lnTo>
                        <a:pt x="3090" y="292593"/>
                      </a:lnTo>
                      <a:lnTo>
                        <a:pt x="0" y="338531"/>
                      </a:lnTo>
                      <a:close/>
                    </a:path>
                  </a:pathLst>
                </a:custGeom>
                <a:grpFill/>
                <a:ln w="12699">
                  <a:solidFill>
                    <a:schemeClr val="accent1"/>
                  </a:solidFill>
                </a:ln>
              </p:spPr>
              <p:txBody>
                <a:bodyPr wrap="square" lIns="0" tIns="0" rIns="0" bIns="0" rtlCol="0"/>
                <a:lstStyle/>
                <a:p>
                  <a:pPr defTabSz="619323">
                    <a:defRPr/>
                  </a:pPr>
                  <a:endParaRPr lang="en-US" sz="1219" dirty="0">
                    <a:latin typeface="Calibri"/>
                  </a:endParaRPr>
                </a:p>
              </p:txBody>
            </p:sp>
          </p:grpSp>
          <p:pic>
            <p:nvPicPr>
              <p:cNvPr id="138" name="Immagine 302" descr="Immagine che contiene Elementi grafici, cerchio, arte, Carattere&#10;&#10;Descrizione generata automaticamente">
                <a:extLst>
                  <a:ext uri="{FF2B5EF4-FFF2-40B4-BE49-F238E27FC236}">
                    <a16:creationId xmlns:a16="http://schemas.microsoft.com/office/drawing/2014/main" id="{8F971745-D6D2-7CE0-E375-928366AA0EB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1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 flipH="1">
                <a:off x="6729596" y="3701121"/>
                <a:ext cx="319233" cy="319233"/>
              </a:xfrm>
              <a:prstGeom prst="rect">
                <a:avLst/>
              </a:prstGeom>
            </p:spPr>
          </p:pic>
        </p:grpSp>
      </p:grpSp>
      <p:grpSp>
        <p:nvGrpSpPr>
          <p:cNvPr id="41" name="Group 40">
            <a:extLst>
              <a:ext uri="{FF2B5EF4-FFF2-40B4-BE49-F238E27FC236}">
                <a16:creationId xmlns:a16="http://schemas.microsoft.com/office/drawing/2014/main" id="{977597C2-BABD-0B07-9B32-5DFE84F59D38}"/>
              </a:ext>
            </a:extLst>
          </p:cNvPr>
          <p:cNvGrpSpPr/>
          <p:nvPr/>
        </p:nvGrpSpPr>
        <p:grpSpPr>
          <a:xfrm>
            <a:off x="6722543" y="1785251"/>
            <a:ext cx="2164699" cy="683538"/>
            <a:chOff x="6660899" y="1245898"/>
            <a:chExt cx="2164699" cy="683538"/>
          </a:xfrm>
        </p:grpSpPr>
        <p:sp>
          <p:nvSpPr>
            <p:cNvPr id="20" name="Arrow: Pentagon 19">
              <a:extLst>
                <a:ext uri="{FF2B5EF4-FFF2-40B4-BE49-F238E27FC236}">
                  <a16:creationId xmlns:a16="http://schemas.microsoft.com/office/drawing/2014/main" id="{6F2620F5-9346-C044-BC93-4793A9F2AEB7}"/>
                </a:ext>
              </a:extLst>
            </p:cNvPr>
            <p:cNvSpPr/>
            <p:nvPr/>
          </p:nvSpPr>
          <p:spPr>
            <a:xfrm flipH="1">
              <a:off x="7043609" y="1245898"/>
              <a:ext cx="1781989" cy="683538"/>
            </a:xfrm>
            <a:prstGeom prst="homePlate">
              <a:avLst>
                <a:gd name="adj" fmla="val 28632"/>
              </a:avLst>
            </a:prstGeom>
            <a:noFill/>
            <a:ln w="19050">
              <a:solidFill>
                <a:schemeClr val="tx2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Ins="36000" rtlCol="0" anchor="ctr"/>
            <a:lstStyle/>
            <a:p>
              <a:pPr defTabSz="619323">
                <a:defRPr/>
              </a:pPr>
              <a:r>
                <a:rPr lang="en-US" sz="2000" b="1" dirty="0">
                  <a:solidFill>
                    <a:schemeClr val="tx1"/>
                  </a:solidFill>
                  <a:latin typeface="Calibri"/>
                </a:rPr>
                <a:t>190.000+</a:t>
              </a:r>
            </a:p>
            <a:p>
              <a:pPr defTabSz="619323">
                <a:defRPr/>
              </a:pPr>
              <a:r>
                <a:rPr lang="en-US" sz="1100" dirty="0">
                  <a:solidFill>
                    <a:schemeClr val="tx1"/>
                  </a:solidFill>
                  <a:latin typeface="Calibri"/>
                </a:rPr>
                <a:t>managed claims per year at the end of 2023</a:t>
              </a:r>
            </a:p>
          </p:txBody>
        </p:sp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84AB2793-B45A-1D33-4F3A-3D6D68A2903E}"/>
                </a:ext>
              </a:extLst>
            </p:cNvPr>
            <p:cNvGrpSpPr/>
            <p:nvPr/>
          </p:nvGrpSpPr>
          <p:grpSpPr>
            <a:xfrm>
              <a:off x="6660899" y="1359353"/>
              <a:ext cx="456626" cy="456628"/>
              <a:chOff x="6660899" y="1359353"/>
              <a:chExt cx="456626" cy="456628"/>
            </a:xfrm>
          </p:grpSpPr>
          <p:sp>
            <p:nvSpPr>
              <p:cNvPr id="150" name="object 41">
                <a:extLst>
                  <a:ext uri="{FF2B5EF4-FFF2-40B4-BE49-F238E27FC236}">
                    <a16:creationId xmlns:a16="http://schemas.microsoft.com/office/drawing/2014/main" id="{9B170487-55F5-B427-40E4-006D15C4D0DD}"/>
                  </a:ext>
                </a:extLst>
              </p:cNvPr>
              <p:cNvSpPr/>
              <p:nvPr/>
            </p:nvSpPr>
            <p:spPr>
              <a:xfrm>
                <a:off x="6660899" y="1359353"/>
                <a:ext cx="456626" cy="456628"/>
              </a:xfrm>
              <a:custGeom>
                <a:avLst/>
                <a:gdLst/>
                <a:ahLst/>
                <a:cxnLst/>
                <a:rect l="l" t="t" r="r" b="b"/>
                <a:pathLst>
                  <a:path w="677544" h="677545">
                    <a:moveTo>
                      <a:pt x="0" y="338531"/>
                    </a:moveTo>
                    <a:lnTo>
                      <a:pt x="3090" y="384468"/>
                    </a:lnTo>
                    <a:lnTo>
                      <a:pt x="12092" y="428527"/>
                    </a:lnTo>
                    <a:lnTo>
                      <a:pt x="26602" y="470304"/>
                    </a:lnTo>
                    <a:lnTo>
                      <a:pt x="46218" y="509396"/>
                    </a:lnTo>
                    <a:lnTo>
                      <a:pt x="70536" y="545399"/>
                    </a:lnTo>
                    <a:lnTo>
                      <a:pt x="99152" y="577910"/>
                    </a:lnTo>
                    <a:lnTo>
                      <a:pt x="131663" y="606526"/>
                    </a:lnTo>
                    <a:lnTo>
                      <a:pt x="167666" y="630843"/>
                    </a:lnTo>
                    <a:lnTo>
                      <a:pt x="206757" y="650459"/>
                    </a:lnTo>
                    <a:lnTo>
                      <a:pt x="248534" y="664970"/>
                    </a:lnTo>
                    <a:lnTo>
                      <a:pt x="292593" y="673972"/>
                    </a:lnTo>
                    <a:lnTo>
                      <a:pt x="338531" y="677062"/>
                    </a:lnTo>
                    <a:lnTo>
                      <a:pt x="384465" y="673972"/>
                    </a:lnTo>
                    <a:lnTo>
                      <a:pt x="428522" y="664970"/>
                    </a:lnTo>
                    <a:lnTo>
                      <a:pt x="470297" y="650459"/>
                    </a:lnTo>
                    <a:lnTo>
                      <a:pt x="509387" y="630843"/>
                    </a:lnTo>
                    <a:lnTo>
                      <a:pt x="545388" y="606526"/>
                    </a:lnTo>
                    <a:lnTo>
                      <a:pt x="577899" y="577910"/>
                    </a:lnTo>
                    <a:lnTo>
                      <a:pt x="606514" y="545399"/>
                    </a:lnTo>
                    <a:lnTo>
                      <a:pt x="630831" y="509396"/>
                    </a:lnTo>
                    <a:lnTo>
                      <a:pt x="650446" y="470304"/>
                    </a:lnTo>
                    <a:lnTo>
                      <a:pt x="664957" y="428527"/>
                    </a:lnTo>
                    <a:lnTo>
                      <a:pt x="673959" y="384468"/>
                    </a:lnTo>
                    <a:lnTo>
                      <a:pt x="677049" y="338531"/>
                    </a:lnTo>
                    <a:lnTo>
                      <a:pt x="673959" y="292593"/>
                    </a:lnTo>
                    <a:lnTo>
                      <a:pt x="664957" y="248534"/>
                    </a:lnTo>
                    <a:lnTo>
                      <a:pt x="650446" y="206757"/>
                    </a:lnTo>
                    <a:lnTo>
                      <a:pt x="630831" y="167666"/>
                    </a:lnTo>
                    <a:lnTo>
                      <a:pt x="606514" y="131663"/>
                    </a:lnTo>
                    <a:lnTo>
                      <a:pt x="577899" y="99152"/>
                    </a:lnTo>
                    <a:lnTo>
                      <a:pt x="545388" y="70536"/>
                    </a:lnTo>
                    <a:lnTo>
                      <a:pt x="509387" y="46218"/>
                    </a:lnTo>
                    <a:lnTo>
                      <a:pt x="470297" y="26602"/>
                    </a:lnTo>
                    <a:lnTo>
                      <a:pt x="428522" y="12092"/>
                    </a:lnTo>
                    <a:lnTo>
                      <a:pt x="384465" y="3090"/>
                    </a:lnTo>
                    <a:lnTo>
                      <a:pt x="338531" y="0"/>
                    </a:lnTo>
                    <a:lnTo>
                      <a:pt x="292593" y="3090"/>
                    </a:lnTo>
                    <a:lnTo>
                      <a:pt x="248534" y="12092"/>
                    </a:lnTo>
                    <a:lnTo>
                      <a:pt x="206757" y="26602"/>
                    </a:lnTo>
                    <a:lnTo>
                      <a:pt x="167666" y="46218"/>
                    </a:lnTo>
                    <a:lnTo>
                      <a:pt x="131663" y="70536"/>
                    </a:lnTo>
                    <a:lnTo>
                      <a:pt x="99152" y="99152"/>
                    </a:lnTo>
                    <a:lnTo>
                      <a:pt x="70536" y="131663"/>
                    </a:lnTo>
                    <a:lnTo>
                      <a:pt x="46218" y="167666"/>
                    </a:lnTo>
                    <a:lnTo>
                      <a:pt x="26602" y="206757"/>
                    </a:lnTo>
                    <a:lnTo>
                      <a:pt x="12092" y="248534"/>
                    </a:lnTo>
                    <a:lnTo>
                      <a:pt x="3090" y="292593"/>
                    </a:lnTo>
                    <a:lnTo>
                      <a:pt x="0" y="338531"/>
                    </a:lnTo>
                    <a:close/>
                  </a:path>
                </a:pathLst>
              </a:custGeom>
              <a:solidFill>
                <a:schemeClr val="bg1"/>
              </a:solidFill>
              <a:ln w="12699">
                <a:solidFill>
                  <a:schemeClr val="accent1"/>
                </a:solidFill>
              </a:ln>
            </p:spPr>
            <p:txBody>
              <a:bodyPr wrap="square" lIns="0" tIns="0" rIns="0" bIns="0" rtlCol="0"/>
              <a:lstStyle/>
              <a:p>
                <a:pPr defTabSz="616197">
                  <a:defRPr/>
                </a:pPr>
                <a:endParaRPr lang="en-US" sz="1213" dirty="0">
                  <a:latin typeface="Calibri"/>
                </a:endParaRPr>
              </a:p>
            </p:txBody>
          </p:sp>
          <p:pic>
            <p:nvPicPr>
              <p:cNvPr id="151" name="Picture 12" descr="Crash Icon 3473601">
                <a:extLst>
                  <a:ext uri="{FF2B5EF4-FFF2-40B4-BE49-F238E27FC236}">
                    <a16:creationId xmlns:a16="http://schemas.microsoft.com/office/drawing/2014/main" id="{36BBE40C-F3B7-1150-199C-FFF0156C8B37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2" cstate="print">
                <a:duotone>
                  <a:schemeClr val="accent2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6714966" y="1415582"/>
                <a:ext cx="348493" cy="344171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</p:grpSp>
      <p:grpSp>
        <p:nvGrpSpPr>
          <p:cNvPr id="39" name="Group 38">
            <a:extLst>
              <a:ext uri="{FF2B5EF4-FFF2-40B4-BE49-F238E27FC236}">
                <a16:creationId xmlns:a16="http://schemas.microsoft.com/office/drawing/2014/main" id="{52688444-33B5-D5D6-C322-0D51D289519C}"/>
              </a:ext>
            </a:extLst>
          </p:cNvPr>
          <p:cNvGrpSpPr/>
          <p:nvPr/>
        </p:nvGrpSpPr>
        <p:grpSpPr>
          <a:xfrm>
            <a:off x="6721396" y="3254957"/>
            <a:ext cx="2165846" cy="683538"/>
            <a:chOff x="6659752" y="2713305"/>
            <a:chExt cx="2165846" cy="683538"/>
          </a:xfrm>
        </p:grpSpPr>
        <p:sp>
          <p:nvSpPr>
            <p:cNvPr id="22" name="Arrow: Pentagon 21">
              <a:extLst>
                <a:ext uri="{FF2B5EF4-FFF2-40B4-BE49-F238E27FC236}">
                  <a16:creationId xmlns:a16="http://schemas.microsoft.com/office/drawing/2014/main" id="{8572B8A0-7EDA-9FC9-DEB9-991B3D5324E5}"/>
                </a:ext>
              </a:extLst>
            </p:cNvPr>
            <p:cNvSpPr/>
            <p:nvPr/>
          </p:nvSpPr>
          <p:spPr>
            <a:xfrm flipH="1">
              <a:off x="7043609" y="2713305"/>
              <a:ext cx="1781989" cy="683538"/>
            </a:xfrm>
            <a:prstGeom prst="homePlate">
              <a:avLst>
                <a:gd name="adj" fmla="val 28632"/>
              </a:avLst>
            </a:prstGeom>
            <a:noFill/>
            <a:ln w="19050">
              <a:solidFill>
                <a:schemeClr val="tx2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Ins="36000" rtlCol="0" anchor="ctr"/>
            <a:lstStyle/>
            <a:p>
              <a:pPr defTabSz="619323">
                <a:defRPr/>
              </a:pPr>
              <a:r>
                <a:rPr lang="en-US" sz="2000" b="1" dirty="0">
                  <a:solidFill>
                    <a:schemeClr val="tx1"/>
                  </a:solidFill>
                  <a:latin typeface="Calibri"/>
                </a:rPr>
                <a:t>140+ </a:t>
              </a:r>
              <a:r>
                <a:rPr lang="en-US" sz="1100" dirty="0">
                  <a:solidFill>
                    <a:schemeClr val="tx1"/>
                  </a:solidFill>
                  <a:latin typeface="Calibri"/>
                </a:rPr>
                <a:t>million</a:t>
              </a:r>
            </a:p>
            <a:p>
              <a:pPr defTabSz="619323">
                <a:defRPr/>
              </a:pPr>
              <a:r>
                <a:rPr lang="en-US" sz="1100" dirty="0">
                  <a:solidFill>
                    <a:schemeClr val="tx1"/>
                  </a:solidFill>
                  <a:latin typeface="Calibri"/>
                </a:rPr>
                <a:t>raised motorway barriers</a:t>
              </a:r>
            </a:p>
          </p:txBody>
        </p:sp>
        <p:grpSp>
          <p:nvGrpSpPr>
            <p:cNvPr id="36" name="Group 35">
              <a:extLst>
                <a:ext uri="{FF2B5EF4-FFF2-40B4-BE49-F238E27FC236}">
                  <a16:creationId xmlns:a16="http://schemas.microsoft.com/office/drawing/2014/main" id="{C2A064B0-1C13-C4D3-B369-3F6FFDD54C34}"/>
                </a:ext>
              </a:extLst>
            </p:cNvPr>
            <p:cNvGrpSpPr/>
            <p:nvPr/>
          </p:nvGrpSpPr>
          <p:grpSpPr>
            <a:xfrm>
              <a:off x="6659752" y="2825614"/>
              <a:ext cx="458920" cy="458920"/>
              <a:chOff x="6659752" y="2825614"/>
              <a:chExt cx="458920" cy="458920"/>
            </a:xfrm>
          </p:grpSpPr>
          <p:sp>
            <p:nvSpPr>
              <p:cNvPr id="172" name="object 41">
                <a:extLst>
                  <a:ext uri="{FF2B5EF4-FFF2-40B4-BE49-F238E27FC236}">
                    <a16:creationId xmlns:a16="http://schemas.microsoft.com/office/drawing/2014/main" id="{15147648-2AF6-23AA-5CB4-9B326BA3EF3E}"/>
                  </a:ext>
                </a:extLst>
              </p:cNvPr>
              <p:cNvSpPr/>
              <p:nvPr/>
            </p:nvSpPr>
            <p:spPr>
              <a:xfrm>
                <a:off x="6659752" y="2825614"/>
                <a:ext cx="458920" cy="458920"/>
              </a:xfrm>
              <a:custGeom>
                <a:avLst/>
                <a:gdLst/>
                <a:ahLst/>
                <a:cxnLst/>
                <a:rect l="l" t="t" r="r" b="b"/>
                <a:pathLst>
                  <a:path w="677544" h="677545">
                    <a:moveTo>
                      <a:pt x="0" y="338531"/>
                    </a:moveTo>
                    <a:lnTo>
                      <a:pt x="3090" y="384468"/>
                    </a:lnTo>
                    <a:lnTo>
                      <a:pt x="12092" y="428527"/>
                    </a:lnTo>
                    <a:lnTo>
                      <a:pt x="26602" y="470304"/>
                    </a:lnTo>
                    <a:lnTo>
                      <a:pt x="46218" y="509396"/>
                    </a:lnTo>
                    <a:lnTo>
                      <a:pt x="70536" y="545399"/>
                    </a:lnTo>
                    <a:lnTo>
                      <a:pt x="99152" y="577910"/>
                    </a:lnTo>
                    <a:lnTo>
                      <a:pt x="131663" y="606526"/>
                    </a:lnTo>
                    <a:lnTo>
                      <a:pt x="167666" y="630843"/>
                    </a:lnTo>
                    <a:lnTo>
                      <a:pt x="206757" y="650459"/>
                    </a:lnTo>
                    <a:lnTo>
                      <a:pt x="248534" y="664970"/>
                    </a:lnTo>
                    <a:lnTo>
                      <a:pt x="292593" y="673972"/>
                    </a:lnTo>
                    <a:lnTo>
                      <a:pt x="338531" y="677062"/>
                    </a:lnTo>
                    <a:lnTo>
                      <a:pt x="384465" y="673972"/>
                    </a:lnTo>
                    <a:lnTo>
                      <a:pt x="428522" y="664970"/>
                    </a:lnTo>
                    <a:lnTo>
                      <a:pt x="470297" y="650459"/>
                    </a:lnTo>
                    <a:lnTo>
                      <a:pt x="509387" y="630843"/>
                    </a:lnTo>
                    <a:lnTo>
                      <a:pt x="545388" y="606526"/>
                    </a:lnTo>
                    <a:lnTo>
                      <a:pt x="577899" y="577910"/>
                    </a:lnTo>
                    <a:lnTo>
                      <a:pt x="606514" y="545399"/>
                    </a:lnTo>
                    <a:lnTo>
                      <a:pt x="630831" y="509396"/>
                    </a:lnTo>
                    <a:lnTo>
                      <a:pt x="650446" y="470304"/>
                    </a:lnTo>
                    <a:lnTo>
                      <a:pt x="664957" y="428527"/>
                    </a:lnTo>
                    <a:lnTo>
                      <a:pt x="673959" y="384468"/>
                    </a:lnTo>
                    <a:lnTo>
                      <a:pt x="677049" y="338531"/>
                    </a:lnTo>
                    <a:lnTo>
                      <a:pt x="673959" y="292593"/>
                    </a:lnTo>
                    <a:lnTo>
                      <a:pt x="664957" y="248534"/>
                    </a:lnTo>
                    <a:lnTo>
                      <a:pt x="650446" y="206757"/>
                    </a:lnTo>
                    <a:lnTo>
                      <a:pt x="630831" y="167666"/>
                    </a:lnTo>
                    <a:lnTo>
                      <a:pt x="606514" y="131663"/>
                    </a:lnTo>
                    <a:lnTo>
                      <a:pt x="577899" y="99152"/>
                    </a:lnTo>
                    <a:lnTo>
                      <a:pt x="545388" y="70536"/>
                    </a:lnTo>
                    <a:lnTo>
                      <a:pt x="509387" y="46218"/>
                    </a:lnTo>
                    <a:lnTo>
                      <a:pt x="470297" y="26602"/>
                    </a:lnTo>
                    <a:lnTo>
                      <a:pt x="428522" y="12092"/>
                    </a:lnTo>
                    <a:lnTo>
                      <a:pt x="384465" y="3090"/>
                    </a:lnTo>
                    <a:lnTo>
                      <a:pt x="338531" y="0"/>
                    </a:lnTo>
                    <a:lnTo>
                      <a:pt x="292593" y="3090"/>
                    </a:lnTo>
                    <a:lnTo>
                      <a:pt x="248534" y="12092"/>
                    </a:lnTo>
                    <a:lnTo>
                      <a:pt x="206757" y="26602"/>
                    </a:lnTo>
                    <a:lnTo>
                      <a:pt x="167666" y="46218"/>
                    </a:lnTo>
                    <a:lnTo>
                      <a:pt x="131663" y="70536"/>
                    </a:lnTo>
                    <a:lnTo>
                      <a:pt x="99152" y="99152"/>
                    </a:lnTo>
                    <a:lnTo>
                      <a:pt x="70536" y="131663"/>
                    </a:lnTo>
                    <a:lnTo>
                      <a:pt x="46218" y="167666"/>
                    </a:lnTo>
                    <a:lnTo>
                      <a:pt x="26602" y="206757"/>
                    </a:lnTo>
                    <a:lnTo>
                      <a:pt x="12092" y="248534"/>
                    </a:lnTo>
                    <a:lnTo>
                      <a:pt x="3090" y="292593"/>
                    </a:lnTo>
                    <a:lnTo>
                      <a:pt x="0" y="338531"/>
                    </a:lnTo>
                    <a:close/>
                  </a:path>
                </a:pathLst>
              </a:custGeom>
              <a:solidFill>
                <a:schemeClr val="bg1"/>
              </a:solidFill>
              <a:ln w="12699">
                <a:solidFill>
                  <a:schemeClr val="accent1"/>
                </a:solidFill>
              </a:ln>
            </p:spPr>
            <p:txBody>
              <a:bodyPr wrap="square" lIns="0" tIns="0" rIns="0" bIns="0" rtlCol="0"/>
              <a:lstStyle/>
              <a:p>
                <a:pPr defTabSz="619323">
                  <a:defRPr/>
                </a:pPr>
                <a:endParaRPr lang="en-US" sz="1219" dirty="0">
                  <a:latin typeface="Calibri"/>
                </a:endParaRPr>
              </a:p>
            </p:txBody>
          </p:sp>
          <p:pic>
            <p:nvPicPr>
              <p:cNvPr id="148" name="Immagine 304" descr="Immagine che contiene schermata, Elementi grafici, design, simbolo&#10;&#10;Descrizione generata automaticamente">
                <a:extLst>
                  <a:ext uri="{FF2B5EF4-FFF2-40B4-BE49-F238E27FC236}">
                    <a16:creationId xmlns:a16="http://schemas.microsoft.com/office/drawing/2014/main" id="{FCDEFC8A-37AF-CC32-2A5F-3AED193F2E5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3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6744666" y="2910528"/>
                <a:ext cx="289092" cy="289092"/>
              </a:xfrm>
              <a:prstGeom prst="rect">
                <a:avLst/>
              </a:prstGeom>
            </p:spPr>
          </p:pic>
        </p:grpSp>
      </p:grpSp>
      <p:sp>
        <p:nvSpPr>
          <p:cNvPr id="44" name="object 21">
            <a:extLst>
              <a:ext uri="{FF2B5EF4-FFF2-40B4-BE49-F238E27FC236}">
                <a16:creationId xmlns:a16="http://schemas.microsoft.com/office/drawing/2014/main" id="{EC905B73-8FAB-8111-2A7E-5423A05229AC}"/>
              </a:ext>
            </a:extLst>
          </p:cNvPr>
          <p:cNvSpPr txBox="1">
            <a:spLocks/>
          </p:cNvSpPr>
          <p:nvPr/>
        </p:nvSpPr>
        <p:spPr>
          <a:xfrm>
            <a:off x="6782612" y="662984"/>
            <a:ext cx="1494697" cy="25904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>
            <a:lvl1pPr>
              <a:defRPr sz="2400" b="1" i="0">
                <a:solidFill>
                  <a:srgbClr val="960F16"/>
                </a:solidFill>
                <a:latin typeface="Arial"/>
                <a:ea typeface="+mj-ea"/>
                <a:cs typeface="Arial"/>
              </a:defRPr>
            </a:lvl1pPr>
          </a:lstStyle>
          <a:p>
            <a:pPr marL="12700" algn="ctr">
              <a:spcBef>
                <a:spcPts val="100"/>
              </a:spcBef>
            </a:pPr>
            <a:r>
              <a:rPr lang="en-US" sz="1600" b="0" i="1" u="sng" kern="0" spc="-10" dirty="0">
                <a:solidFill>
                  <a:schemeClr val="tx1"/>
                </a:solidFill>
                <a:latin typeface="Calibri"/>
              </a:rPr>
              <a:t>Key numbers</a:t>
            </a:r>
          </a:p>
        </p:txBody>
      </p:sp>
    </p:spTree>
    <p:extLst>
      <p:ext uri="{BB962C8B-B14F-4D97-AF65-F5344CB8AC3E}">
        <p14:creationId xmlns:p14="http://schemas.microsoft.com/office/powerpoint/2010/main" val="318437316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8" name="think-cell data - do not delete" hidden="1">
            <a:extLst>
              <a:ext uri="{FF2B5EF4-FFF2-40B4-BE49-F238E27FC236}">
                <a16:creationId xmlns:a16="http://schemas.microsoft.com/office/drawing/2014/main" id="{EDBCB839-C75A-B6FD-7FEE-E5AD21B8EC3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870098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8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DBCB839-C75A-B6FD-7FEE-E5AD21B8EC3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86713D0-FF63-12FC-A40B-3AB9A76DE8F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98DEE5-5424-45CB-8336-3215AFBD0173}" type="slidenum">
              <a:rPr lang="en-US" smtClean="0"/>
              <a:pPr/>
              <a:t>4</a:t>
            </a:fld>
            <a:endParaRPr lang="en-US" dirty="0"/>
          </a:p>
        </p:txBody>
      </p:sp>
      <p:sp>
        <p:nvSpPr>
          <p:cNvPr id="78" name="Title 77">
            <a:extLst>
              <a:ext uri="{FF2B5EF4-FFF2-40B4-BE49-F238E27FC236}">
                <a16:creationId xmlns:a16="http://schemas.microsoft.com/office/drawing/2014/main" id="{D80221D6-9621-CC5F-5ABF-BA16009A959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 err="1"/>
              <a:t>UnipolTech</a:t>
            </a:r>
            <a:r>
              <a:rPr lang="en-US" dirty="0"/>
              <a:t> boxes generate large quantities of data that can be used for different purposes</a:t>
            </a:r>
          </a:p>
        </p:txBody>
      </p:sp>
      <p:pic>
        <p:nvPicPr>
          <p:cNvPr id="5" name="Picture 4" descr="Abstract image of large maze">
            <a:extLst>
              <a:ext uri="{FF2B5EF4-FFF2-40B4-BE49-F238E27FC236}">
                <a16:creationId xmlns:a16="http://schemas.microsoft.com/office/drawing/2014/main" id="{6AEC3D23-883E-4BB1-929C-BCEE266125CD}"/>
              </a:ext>
            </a:extLst>
          </p:cNvPr>
          <p:cNvPicPr>
            <a:picLocks/>
          </p:cNvPicPr>
          <p:nvPr/>
        </p:nvPicPr>
        <p:blipFill rotWithShape="1">
          <a:blip r:embed="rId5" cstate="screen">
            <a:alphaModFix amt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569817"/>
            <a:ext cx="4165490" cy="4165721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863E7E1A-89CE-0226-AB3E-CFEDB38D578F}"/>
              </a:ext>
            </a:extLst>
          </p:cNvPr>
          <p:cNvSpPr>
            <a:spLocks/>
          </p:cNvSpPr>
          <p:nvPr/>
        </p:nvSpPr>
        <p:spPr>
          <a:xfrm>
            <a:off x="3757886" y="569762"/>
            <a:ext cx="5349019" cy="4166477"/>
          </a:xfrm>
          <a:custGeom>
            <a:avLst/>
            <a:gdLst>
              <a:gd name="connsiteX0" fmla="*/ 0 w 5349019"/>
              <a:gd name="connsiteY0" fmla="*/ 0 h 4166477"/>
              <a:gd name="connsiteX1" fmla="*/ 647826 w 5349019"/>
              <a:gd name="connsiteY1" fmla="*/ 0 h 4166477"/>
              <a:gd name="connsiteX2" fmla="*/ 1135181 w 5349019"/>
              <a:gd name="connsiteY2" fmla="*/ 0 h 4166477"/>
              <a:gd name="connsiteX3" fmla="*/ 1622536 w 5349019"/>
              <a:gd name="connsiteY3" fmla="*/ 0 h 4166477"/>
              <a:gd name="connsiteX4" fmla="*/ 2109891 w 5349019"/>
              <a:gd name="connsiteY4" fmla="*/ 0 h 4166477"/>
              <a:gd name="connsiteX5" fmla="*/ 2757716 w 5349019"/>
              <a:gd name="connsiteY5" fmla="*/ 0 h 4166477"/>
              <a:gd name="connsiteX6" fmla="*/ 3459032 w 5349019"/>
              <a:gd name="connsiteY6" fmla="*/ 0 h 4166477"/>
              <a:gd name="connsiteX7" fmla="*/ 4053368 w 5349019"/>
              <a:gd name="connsiteY7" fmla="*/ 0 h 4166477"/>
              <a:gd name="connsiteX8" fmla="*/ 4754684 w 5349019"/>
              <a:gd name="connsiteY8" fmla="*/ 0 h 4166477"/>
              <a:gd name="connsiteX9" fmla="*/ 5349019 w 5349019"/>
              <a:gd name="connsiteY9" fmla="*/ 0 h 4166477"/>
              <a:gd name="connsiteX10" fmla="*/ 5349019 w 5349019"/>
              <a:gd name="connsiteY10" fmla="*/ 678541 h 4166477"/>
              <a:gd name="connsiteX11" fmla="*/ 5349019 w 5349019"/>
              <a:gd name="connsiteY11" fmla="*/ 1148757 h 4166477"/>
              <a:gd name="connsiteX12" fmla="*/ 5349019 w 5349019"/>
              <a:gd name="connsiteY12" fmla="*/ 1827298 h 4166477"/>
              <a:gd name="connsiteX13" fmla="*/ 5349019 w 5349019"/>
              <a:gd name="connsiteY13" fmla="*/ 2464174 h 4166477"/>
              <a:gd name="connsiteX14" fmla="*/ 5349019 w 5349019"/>
              <a:gd name="connsiteY14" fmla="*/ 2976055 h 4166477"/>
              <a:gd name="connsiteX15" fmla="*/ 5349019 w 5349019"/>
              <a:gd name="connsiteY15" fmla="*/ 3654596 h 4166477"/>
              <a:gd name="connsiteX16" fmla="*/ 5349019 w 5349019"/>
              <a:gd name="connsiteY16" fmla="*/ 4166477 h 4166477"/>
              <a:gd name="connsiteX17" fmla="*/ 4861664 w 5349019"/>
              <a:gd name="connsiteY17" fmla="*/ 4166477 h 4166477"/>
              <a:gd name="connsiteX18" fmla="*/ 4213838 w 5349019"/>
              <a:gd name="connsiteY18" fmla="*/ 4166477 h 4166477"/>
              <a:gd name="connsiteX19" fmla="*/ 3566013 w 5349019"/>
              <a:gd name="connsiteY19" fmla="*/ 4166477 h 4166477"/>
              <a:gd name="connsiteX20" fmla="*/ 2971677 w 5349019"/>
              <a:gd name="connsiteY20" fmla="*/ 4166477 h 4166477"/>
              <a:gd name="connsiteX21" fmla="*/ 2430832 w 5349019"/>
              <a:gd name="connsiteY21" fmla="*/ 4166477 h 4166477"/>
              <a:gd name="connsiteX22" fmla="*/ 1889987 w 5349019"/>
              <a:gd name="connsiteY22" fmla="*/ 4166477 h 4166477"/>
              <a:gd name="connsiteX23" fmla="*/ 1188671 w 5349019"/>
              <a:gd name="connsiteY23" fmla="*/ 4166477 h 4166477"/>
              <a:gd name="connsiteX24" fmla="*/ 594335 w 5349019"/>
              <a:gd name="connsiteY24" fmla="*/ 4166477 h 4166477"/>
              <a:gd name="connsiteX25" fmla="*/ 0 w 5349019"/>
              <a:gd name="connsiteY25" fmla="*/ 4166477 h 4166477"/>
              <a:gd name="connsiteX26" fmla="*/ 0 w 5349019"/>
              <a:gd name="connsiteY26" fmla="*/ 3529601 h 4166477"/>
              <a:gd name="connsiteX27" fmla="*/ 0 w 5349019"/>
              <a:gd name="connsiteY27" fmla="*/ 2851061 h 4166477"/>
              <a:gd name="connsiteX28" fmla="*/ 0 w 5349019"/>
              <a:gd name="connsiteY28" fmla="*/ 2255850 h 4166477"/>
              <a:gd name="connsiteX29" fmla="*/ 0 w 5349019"/>
              <a:gd name="connsiteY29" fmla="*/ 1702303 h 4166477"/>
              <a:gd name="connsiteX30" fmla="*/ 0 w 5349019"/>
              <a:gd name="connsiteY30" fmla="*/ 1190422 h 4166477"/>
              <a:gd name="connsiteX31" fmla="*/ 0 w 5349019"/>
              <a:gd name="connsiteY31" fmla="*/ 678541 h 4166477"/>
              <a:gd name="connsiteX32" fmla="*/ 0 w 5349019"/>
              <a:gd name="connsiteY32" fmla="*/ 0 h 41664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</a:cxnLst>
            <a:rect l="l" t="t" r="r" b="b"/>
            <a:pathLst>
              <a:path w="5349019" h="4166477" fill="none" extrusionOk="0">
                <a:moveTo>
                  <a:pt x="0" y="0"/>
                </a:moveTo>
                <a:cubicBezTo>
                  <a:pt x="207900" y="-32752"/>
                  <a:pt x="427700" y="25017"/>
                  <a:pt x="647826" y="0"/>
                </a:cubicBezTo>
                <a:cubicBezTo>
                  <a:pt x="867952" y="-25017"/>
                  <a:pt x="1012906" y="16234"/>
                  <a:pt x="1135181" y="0"/>
                </a:cubicBezTo>
                <a:cubicBezTo>
                  <a:pt x="1257457" y="-16234"/>
                  <a:pt x="1408265" y="49234"/>
                  <a:pt x="1622536" y="0"/>
                </a:cubicBezTo>
                <a:cubicBezTo>
                  <a:pt x="1836807" y="-49234"/>
                  <a:pt x="1957048" y="40758"/>
                  <a:pt x="2109891" y="0"/>
                </a:cubicBezTo>
                <a:cubicBezTo>
                  <a:pt x="2262735" y="-40758"/>
                  <a:pt x="2495836" y="14076"/>
                  <a:pt x="2757716" y="0"/>
                </a:cubicBezTo>
                <a:cubicBezTo>
                  <a:pt x="3019597" y="-14076"/>
                  <a:pt x="3230778" y="69546"/>
                  <a:pt x="3459032" y="0"/>
                </a:cubicBezTo>
                <a:cubicBezTo>
                  <a:pt x="3687286" y="-69546"/>
                  <a:pt x="3764802" y="27799"/>
                  <a:pt x="4053368" y="0"/>
                </a:cubicBezTo>
                <a:cubicBezTo>
                  <a:pt x="4341934" y="-27799"/>
                  <a:pt x="4588702" y="31084"/>
                  <a:pt x="4754684" y="0"/>
                </a:cubicBezTo>
                <a:cubicBezTo>
                  <a:pt x="4920666" y="-31084"/>
                  <a:pt x="5172358" y="28880"/>
                  <a:pt x="5349019" y="0"/>
                </a:cubicBezTo>
                <a:cubicBezTo>
                  <a:pt x="5353948" y="286605"/>
                  <a:pt x="5281501" y="377547"/>
                  <a:pt x="5349019" y="678541"/>
                </a:cubicBezTo>
                <a:cubicBezTo>
                  <a:pt x="5416537" y="979535"/>
                  <a:pt x="5337026" y="1006356"/>
                  <a:pt x="5349019" y="1148757"/>
                </a:cubicBezTo>
                <a:cubicBezTo>
                  <a:pt x="5361012" y="1291158"/>
                  <a:pt x="5303968" y="1686863"/>
                  <a:pt x="5349019" y="1827298"/>
                </a:cubicBezTo>
                <a:cubicBezTo>
                  <a:pt x="5394070" y="1967733"/>
                  <a:pt x="5275694" y="2226106"/>
                  <a:pt x="5349019" y="2464174"/>
                </a:cubicBezTo>
                <a:cubicBezTo>
                  <a:pt x="5422344" y="2702242"/>
                  <a:pt x="5325235" y="2741442"/>
                  <a:pt x="5349019" y="2976055"/>
                </a:cubicBezTo>
                <a:cubicBezTo>
                  <a:pt x="5372803" y="3210668"/>
                  <a:pt x="5287690" y="3446718"/>
                  <a:pt x="5349019" y="3654596"/>
                </a:cubicBezTo>
                <a:cubicBezTo>
                  <a:pt x="5410348" y="3862474"/>
                  <a:pt x="5327976" y="4005993"/>
                  <a:pt x="5349019" y="4166477"/>
                </a:cubicBezTo>
                <a:cubicBezTo>
                  <a:pt x="5248827" y="4176674"/>
                  <a:pt x="5006185" y="4142037"/>
                  <a:pt x="4861664" y="4166477"/>
                </a:cubicBezTo>
                <a:cubicBezTo>
                  <a:pt x="4717144" y="4190917"/>
                  <a:pt x="4426988" y="4164139"/>
                  <a:pt x="4213838" y="4166477"/>
                </a:cubicBezTo>
                <a:cubicBezTo>
                  <a:pt x="4000688" y="4168815"/>
                  <a:pt x="3862903" y="4149958"/>
                  <a:pt x="3566013" y="4166477"/>
                </a:cubicBezTo>
                <a:cubicBezTo>
                  <a:pt x="3269124" y="4182996"/>
                  <a:pt x="3159809" y="4112492"/>
                  <a:pt x="2971677" y="4166477"/>
                </a:cubicBezTo>
                <a:cubicBezTo>
                  <a:pt x="2783545" y="4220462"/>
                  <a:pt x="2685014" y="4139819"/>
                  <a:pt x="2430832" y="4166477"/>
                </a:cubicBezTo>
                <a:cubicBezTo>
                  <a:pt x="2176650" y="4193135"/>
                  <a:pt x="2010294" y="4151958"/>
                  <a:pt x="1889987" y="4166477"/>
                </a:cubicBezTo>
                <a:cubicBezTo>
                  <a:pt x="1769681" y="4180996"/>
                  <a:pt x="1390211" y="4111500"/>
                  <a:pt x="1188671" y="4166477"/>
                </a:cubicBezTo>
                <a:cubicBezTo>
                  <a:pt x="987131" y="4221454"/>
                  <a:pt x="786734" y="4150766"/>
                  <a:pt x="594335" y="4166477"/>
                </a:cubicBezTo>
                <a:cubicBezTo>
                  <a:pt x="401936" y="4182188"/>
                  <a:pt x="237280" y="4097185"/>
                  <a:pt x="0" y="4166477"/>
                </a:cubicBezTo>
                <a:cubicBezTo>
                  <a:pt x="-1975" y="3972678"/>
                  <a:pt x="67355" y="3709739"/>
                  <a:pt x="0" y="3529601"/>
                </a:cubicBezTo>
                <a:cubicBezTo>
                  <a:pt x="-67355" y="3349463"/>
                  <a:pt x="74480" y="3000631"/>
                  <a:pt x="0" y="2851061"/>
                </a:cubicBezTo>
                <a:cubicBezTo>
                  <a:pt x="-74480" y="2701491"/>
                  <a:pt x="12804" y="2444554"/>
                  <a:pt x="0" y="2255850"/>
                </a:cubicBezTo>
                <a:cubicBezTo>
                  <a:pt x="-12804" y="2067146"/>
                  <a:pt x="17722" y="1931314"/>
                  <a:pt x="0" y="1702303"/>
                </a:cubicBezTo>
                <a:cubicBezTo>
                  <a:pt x="-17722" y="1473292"/>
                  <a:pt x="43086" y="1371871"/>
                  <a:pt x="0" y="1190422"/>
                </a:cubicBezTo>
                <a:cubicBezTo>
                  <a:pt x="-43086" y="1008973"/>
                  <a:pt x="18072" y="893914"/>
                  <a:pt x="0" y="678541"/>
                </a:cubicBezTo>
                <a:cubicBezTo>
                  <a:pt x="-18072" y="463168"/>
                  <a:pt x="65753" y="306987"/>
                  <a:pt x="0" y="0"/>
                </a:cubicBezTo>
                <a:close/>
              </a:path>
              <a:path w="5349019" h="4166477" stroke="0" extrusionOk="0">
                <a:moveTo>
                  <a:pt x="0" y="0"/>
                </a:moveTo>
                <a:cubicBezTo>
                  <a:pt x="181172" y="-5882"/>
                  <a:pt x="416186" y="48523"/>
                  <a:pt x="540845" y="0"/>
                </a:cubicBezTo>
                <a:cubicBezTo>
                  <a:pt x="665504" y="-48523"/>
                  <a:pt x="1067168" y="79605"/>
                  <a:pt x="1242161" y="0"/>
                </a:cubicBezTo>
                <a:cubicBezTo>
                  <a:pt x="1417154" y="-79605"/>
                  <a:pt x="1668799" y="67183"/>
                  <a:pt x="1943477" y="0"/>
                </a:cubicBezTo>
                <a:cubicBezTo>
                  <a:pt x="2218155" y="-67183"/>
                  <a:pt x="2227646" y="36327"/>
                  <a:pt x="2484322" y="0"/>
                </a:cubicBezTo>
                <a:cubicBezTo>
                  <a:pt x="2740998" y="-36327"/>
                  <a:pt x="2982207" y="68096"/>
                  <a:pt x="3185638" y="0"/>
                </a:cubicBezTo>
                <a:cubicBezTo>
                  <a:pt x="3389069" y="-68096"/>
                  <a:pt x="3540102" y="36015"/>
                  <a:pt x="3833464" y="0"/>
                </a:cubicBezTo>
                <a:cubicBezTo>
                  <a:pt x="4126826" y="-36015"/>
                  <a:pt x="4289531" y="77229"/>
                  <a:pt x="4481289" y="0"/>
                </a:cubicBezTo>
                <a:cubicBezTo>
                  <a:pt x="4673048" y="-77229"/>
                  <a:pt x="4965778" y="53339"/>
                  <a:pt x="5349019" y="0"/>
                </a:cubicBezTo>
                <a:cubicBezTo>
                  <a:pt x="5362063" y="257529"/>
                  <a:pt x="5325201" y="403702"/>
                  <a:pt x="5349019" y="595211"/>
                </a:cubicBezTo>
                <a:cubicBezTo>
                  <a:pt x="5372837" y="786720"/>
                  <a:pt x="5329068" y="907750"/>
                  <a:pt x="5349019" y="1148757"/>
                </a:cubicBezTo>
                <a:cubicBezTo>
                  <a:pt x="5368970" y="1389764"/>
                  <a:pt x="5338235" y="1646500"/>
                  <a:pt x="5349019" y="1785633"/>
                </a:cubicBezTo>
                <a:cubicBezTo>
                  <a:pt x="5359803" y="1924766"/>
                  <a:pt x="5309163" y="2127064"/>
                  <a:pt x="5349019" y="2297514"/>
                </a:cubicBezTo>
                <a:cubicBezTo>
                  <a:pt x="5388875" y="2467964"/>
                  <a:pt x="5321024" y="2713534"/>
                  <a:pt x="5349019" y="2976055"/>
                </a:cubicBezTo>
                <a:cubicBezTo>
                  <a:pt x="5377014" y="3238576"/>
                  <a:pt x="5347615" y="3392324"/>
                  <a:pt x="5349019" y="3529601"/>
                </a:cubicBezTo>
                <a:cubicBezTo>
                  <a:pt x="5350423" y="3666878"/>
                  <a:pt x="5338777" y="3888361"/>
                  <a:pt x="5349019" y="4166477"/>
                </a:cubicBezTo>
                <a:cubicBezTo>
                  <a:pt x="5248119" y="4169155"/>
                  <a:pt x="5046157" y="4144972"/>
                  <a:pt x="4861664" y="4166477"/>
                </a:cubicBezTo>
                <a:cubicBezTo>
                  <a:pt x="4677172" y="4187982"/>
                  <a:pt x="4533108" y="4143699"/>
                  <a:pt x="4374309" y="4166477"/>
                </a:cubicBezTo>
                <a:cubicBezTo>
                  <a:pt x="4215510" y="4189255"/>
                  <a:pt x="4082694" y="4151967"/>
                  <a:pt x="3940444" y="4166477"/>
                </a:cubicBezTo>
                <a:cubicBezTo>
                  <a:pt x="3798194" y="4180987"/>
                  <a:pt x="3503880" y="4109478"/>
                  <a:pt x="3292618" y="4166477"/>
                </a:cubicBezTo>
                <a:cubicBezTo>
                  <a:pt x="3081356" y="4223476"/>
                  <a:pt x="2907541" y="4149533"/>
                  <a:pt x="2751773" y="4166477"/>
                </a:cubicBezTo>
                <a:cubicBezTo>
                  <a:pt x="2596006" y="4183421"/>
                  <a:pt x="2392459" y="4146349"/>
                  <a:pt x="2103947" y="4166477"/>
                </a:cubicBezTo>
                <a:cubicBezTo>
                  <a:pt x="1815435" y="4186605"/>
                  <a:pt x="1714828" y="4140423"/>
                  <a:pt x="1402632" y="4166477"/>
                </a:cubicBezTo>
                <a:cubicBezTo>
                  <a:pt x="1090436" y="4192531"/>
                  <a:pt x="913252" y="4148946"/>
                  <a:pt x="701316" y="4166477"/>
                </a:cubicBezTo>
                <a:cubicBezTo>
                  <a:pt x="489380" y="4184008"/>
                  <a:pt x="172151" y="4125784"/>
                  <a:pt x="0" y="4166477"/>
                </a:cubicBezTo>
                <a:cubicBezTo>
                  <a:pt x="-32380" y="3986015"/>
                  <a:pt x="2879" y="3857712"/>
                  <a:pt x="0" y="3696260"/>
                </a:cubicBezTo>
                <a:cubicBezTo>
                  <a:pt x="-2879" y="3534808"/>
                  <a:pt x="42844" y="3226305"/>
                  <a:pt x="0" y="3059385"/>
                </a:cubicBezTo>
                <a:cubicBezTo>
                  <a:pt x="-42844" y="2892465"/>
                  <a:pt x="40392" y="2783747"/>
                  <a:pt x="0" y="2589168"/>
                </a:cubicBezTo>
                <a:cubicBezTo>
                  <a:pt x="-40392" y="2394589"/>
                  <a:pt x="21476" y="2212919"/>
                  <a:pt x="0" y="1952292"/>
                </a:cubicBezTo>
                <a:cubicBezTo>
                  <a:pt x="-21476" y="1691665"/>
                  <a:pt x="72418" y="1614141"/>
                  <a:pt x="0" y="1315416"/>
                </a:cubicBezTo>
                <a:cubicBezTo>
                  <a:pt x="-72418" y="1016691"/>
                  <a:pt x="26963" y="1046609"/>
                  <a:pt x="0" y="803535"/>
                </a:cubicBezTo>
                <a:cubicBezTo>
                  <a:pt x="-26963" y="560461"/>
                  <a:pt x="50252" y="291244"/>
                  <a:pt x="0" y="0"/>
                </a:cubicBezTo>
                <a:close/>
              </a:path>
            </a:pathLst>
          </a:custGeom>
          <a:solidFill>
            <a:srgbClr val="E1F0FF"/>
          </a:solidFill>
          <a:ln>
            <a:solidFill>
              <a:srgbClr val="004890"/>
            </a:solidFill>
            <a:extLst>
              <a:ext uri="{C807C97D-BFC1-408E-A445-0C87EB9F89A2}">
                <ask:lineSketchStyleProps xmlns:ask="http://schemas.microsoft.com/office/drawing/2018/sketchyshapes" sd="1569099324">
                  <a:prstGeom prst="rect">
                    <a:avLst/>
                  </a:prstGeom>
                  <ask:type>
                    <ask:lineSketchScribble/>
                  </ask:type>
                </ask:lineSketchStyleProps>
              </a:ext>
            </a:extLst>
          </a:ln>
          <a:effectLst>
            <a:softEdge rad="12700"/>
          </a:effec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bIns="108000" rtlCol="0" anchor="b"/>
          <a:lstStyle/>
          <a:p>
            <a:pPr algn="ctr"/>
            <a:endParaRPr lang="en-US" sz="1100" b="1" dirty="0">
              <a:solidFill>
                <a:srgbClr val="004890"/>
              </a:solidFill>
            </a:endParaRPr>
          </a:p>
        </p:txBody>
      </p:sp>
      <p:sp>
        <p:nvSpPr>
          <p:cNvPr id="7" name="Rectangle 50">
            <a:extLst>
              <a:ext uri="{FF2B5EF4-FFF2-40B4-BE49-F238E27FC236}">
                <a16:creationId xmlns:a16="http://schemas.microsoft.com/office/drawing/2014/main" id="{3C29D400-4830-8CBA-2D4E-5F7671EF3220}"/>
              </a:ext>
            </a:extLst>
          </p:cNvPr>
          <p:cNvSpPr/>
          <p:nvPr/>
        </p:nvSpPr>
        <p:spPr>
          <a:xfrm>
            <a:off x="4144908" y="4466226"/>
            <a:ext cx="4894620" cy="196603"/>
          </a:xfrm>
          <a:solidFill>
            <a:schemeClr val="bg1"/>
          </a:solidFill>
          <a:ln>
            <a:solidFill>
              <a:schemeClr val="accent1">
                <a:lumMod val="75000"/>
                <a:lumOff val="25000"/>
              </a:schemeClr>
            </a:solidFill>
          </a:ln>
          <a:effectLst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324000" rtlCol="0" anchor="ctr"/>
          <a:lstStyle/>
          <a:p>
            <a:r>
              <a:rPr lang="en-US" sz="1000" b="1" dirty="0">
                <a:solidFill>
                  <a:schemeClr val="accent1"/>
                </a:solidFill>
              </a:rPr>
              <a:t>…</a:t>
            </a: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E2292BFD-D1E2-5A71-F638-E9C8FA0AE70E}"/>
              </a:ext>
            </a:extLst>
          </p:cNvPr>
          <p:cNvGrpSpPr/>
          <p:nvPr/>
        </p:nvGrpSpPr>
        <p:grpSpPr>
          <a:xfrm>
            <a:off x="93035" y="711166"/>
            <a:ext cx="2763816" cy="1598253"/>
            <a:chOff x="138448" y="739250"/>
            <a:chExt cx="3678640" cy="2127274"/>
          </a:xfrm>
        </p:grpSpPr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F80EF517-1E4C-B6D9-212A-7C6579586F82}"/>
                </a:ext>
              </a:extLst>
            </p:cNvPr>
            <p:cNvSpPr/>
            <p:nvPr/>
          </p:nvSpPr>
          <p:spPr>
            <a:xfrm>
              <a:off x="1210102" y="1337209"/>
              <a:ext cx="2606986" cy="952622"/>
            </a:xfrm>
            <a:custGeom>
              <a:avLst/>
              <a:gdLst>
                <a:gd name="connsiteX0" fmla="*/ 0 w 2606986"/>
                <a:gd name="connsiteY0" fmla="*/ 0 h 952622"/>
                <a:gd name="connsiteX1" fmla="*/ 599607 w 2606986"/>
                <a:gd name="connsiteY1" fmla="*/ 0 h 952622"/>
                <a:gd name="connsiteX2" fmla="*/ 1173144 w 2606986"/>
                <a:gd name="connsiteY2" fmla="*/ 0 h 952622"/>
                <a:gd name="connsiteX3" fmla="*/ 1772750 w 2606986"/>
                <a:gd name="connsiteY3" fmla="*/ 0 h 952622"/>
                <a:gd name="connsiteX4" fmla="*/ 2606986 w 2606986"/>
                <a:gd name="connsiteY4" fmla="*/ 0 h 952622"/>
                <a:gd name="connsiteX5" fmla="*/ 2606986 w 2606986"/>
                <a:gd name="connsiteY5" fmla="*/ 485837 h 952622"/>
                <a:gd name="connsiteX6" fmla="*/ 2606986 w 2606986"/>
                <a:gd name="connsiteY6" fmla="*/ 952622 h 952622"/>
                <a:gd name="connsiteX7" fmla="*/ 2033449 w 2606986"/>
                <a:gd name="connsiteY7" fmla="*/ 952622 h 952622"/>
                <a:gd name="connsiteX8" fmla="*/ 1329563 w 2606986"/>
                <a:gd name="connsiteY8" fmla="*/ 952622 h 952622"/>
                <a:gd name="connsiteX9" fmla="*/ 756026 w 2606986"/>
                <a:gd name="connsiteY9" fmla="*/ 952622 h 952622"/>
                <a:gd name="connsiteX10" fmla="*/ 0 w 2606986"/>
                <a:gd name="connsiteY10" fmla="*/ 952622 h 952622"/>
                <a:gd name="connsiteX11" fmla="*/ 0 w 2606986"/>
                <a:gd name="connsiteY11" fmla="*/ 495363 h 952622"/>
                <a:gd name="connsiteX12" fmla="*/ 0 w 2606986"/>
                <a:gd name="connsiteY12" fmla="*/ 0 h 9526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606986" h="952622" fill="none" extrusionOk="0">
                  <a:moveTo>
                    <a:pt x="0" y="0"/>
                  </a:moveTo>
                  <a:cubicBezTo>
                    <a:pt x="146287" y="7541"/>
                    <a:pt x="313367" y="-8462"/>
                    <a:pt x="599607" y="0"/>
                  </a:cubicBezTo>
                  <a:cubicBezTo>
                    <a:pt x="885847" y="8462"/>
                    <a:pt x="987537" y="-7059"/>
                    <a:pt x="1173144" y="0"/>
                  </a:cubicBezTo>
                  <a:cubicBezTo>
                    <a:pt x="1358751" y="7059"/>
                    <a:pt x="1489744" y="4624"/>
                    <a:pt x="1772750" y="0"/>
                  </a:cubicBezTo>
                  <a:cubicBezTo>
                    <a:pt x="2055756" y="-4624"/>
                    <a:pt x="2439020" y="-15436"/>
                    <a:pt x="2606986" y="0"/>
                  </a:cubicBezTo>
                  <a:cubicBezTo>
                    <a:pt x="2622447" y="193515"/>
                    <a:pt x="2598357" y="369860"/>
                    <a:pt x="2606986" y="485837"/>
                  </a:cubicBezTo>
                  <a:cubicBezTo>
                    <a:pt x="2615615" y="601814"/>
                    <a:pt x="2621835" y="765643"/>
                    <a:pt x="2606986" y="952622"/>
                  </a:cubicBezTo>
                  <a:cubicBezTo>
                    <a:pt x="2322857" y="943032"/>
                    <a:pt x="2154854" y="954552"/>
                    <a:pt x="2033449" y="952622"/>
                  </a:cubicBezTo>
                  <a:cubicBezTo>
                    <a:pt x="1912044" y="950692"/>
                    <a:pt x="1651747" y="947677"/>
                    <a:pt x="1329563" y="952622"/>
                  </a:cubicBezTo>
                  <a:cubicBezTo>
                    <a:pt x="1007379" y="957567"/>
                    <a:pt x="941748" y="932856"/>
                    <a:pt x="756026" y="952622"/>
                  </a:cubicBezTo>
                  <a:cubicBezTo>
                    <a:pt x="570304" y="972388"/>
                    <a:pt x="232663" y="956967"/>
                    <a:pt x="0" y="952622"/>
                  </a:cubicBezTo>
                  <a:cubicBezTo>
                    <a:pt x="8992" y="832503"/>
                    <a:pt x="-12638" y="668150"/>
                    <a:pt x="0" y="495363"/>
                  </a:cubicBezTo>
                  <a:cubicBezTo>
                    <a:pt x="12638" y="322576"/>
                    <a:pt x="23695" y="237834"/>
                    <a:pt x="0" y="0"/>
                  </a:cubicBezTo>
                  <a:close/>
                </a:path>
                <a:path w="2606986" h="952622" stroke="0" extrusionOk="0">
                  <a:moveTo>
                    <a:pt x="0" y="0"/>
                  </a:moveTo>
                  <a:cubicBezTo>
                    <a:pt x="195509" y="2002"/>
                    <a:pt x="320785" y="-4255"/>
                    <a:pt x="573537" y="0"/>
                  </a:cubicBezTo>
                  <a:cubicBezTo>
                    <a:pt x="826289" y="4255"/>
                    <a:pt x="1055840" y="-9411"/>
                    <a:pt x="1225283" y="0"/>
                  </a:cubicBezTo>
                  <a:cubicBezTo>
                    <a:pt x="1394726" y="9411"/>
                    <a:pt x="1640126" y="16207"/>
                    <a:pt x="1850960" y="0"/>
                  </a:cubicBezTo>
                  <a:cubicBezTo>
                    <a:pt x="2061794" y="-16207"/>
                    <a:pt x="2239244" y="17555"/>
                    <a:pt x="2606986" y="0"/>
                  </a:cubicBezTo>
                  <a:cubicBezTo>
                    <a:pt x="2607379" y="142235"/>
                    <a:pt x="2595907" y="306749"/>
                    <a:pt x="2606986" y="485837"/>
                  </a:cubicBezTo>
                  <a:cubicBezTo>
                    <a:pt x="2618065" y="664925"/>
                    <a:pt x="2624125" y="764109"/>
                    <a:pt x="2606986" y="952622"/>
                  </a:cubicBezTo>
                  <a:cubicBezTo>
                    <a:pt x="2451979" y="932900"/>
                    <a:pt x="2192585" y="925087"/>
                    <a:pt x="2007379" y="952622"/>
                  </a:cubicBezTo>
                  <a:cubicBezTo>
                    <a:pt x="1822173" y="980157"/>
                    <a:pt x="1478525" y="957388"/>
                    <a:pt x="1303493" y="952622"/>
                  </a:cubicBezTo>
                  <a:cubicBezTo>
                    <a:pt x="1128461" y="947856"/>
                    <a:pt x="928486" y="932200"/>
                    <a:pt x="677816" y="952622"/>
                  </a:cubicBezTo>
                  <a:cubicBezTo>
                    <a:pt x="427146" y="973044"/>
                    <a:pt x="307081" y="928721"/>
                    <a:pt x="0" y="952622"/>
                  </a:cubicBezTo>
                  <a:cubicBezTo>
                    <a:pt x="2707" y="814839"/>
                    <a:pt x="-635" y="603096"/>
                    <a:pt x="0" y="495363"/>
                  </a:cubicBezTo>
                  <a:cubicBezTo>
                    <a:pt x="635" y="387630"/>
                    <a:pt x="-21459" y="121366"/>
                    <a:pt x="0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solidFill>
                <a:schemeClr val="tx1">
                  <a:lumMod val="50000"/>
                  <a:lumOff val="50000"/>
                </a:schemeClr>
              </a:solidFill>
              <a:extLst>
                <a:ext uri="{C807C97D-BFC1-408E-A445-0C87EB9F89A2}">
                  <ask:lineSketchStyleProps xmlns:ask="http://schemas.microsoft.com/office/drawing/2018/sketchyshapes" sd="1901803019">
                    <a:prstGeom prst="rect">
                      <a:avLst/>
                    </a:prstGeom>
                    <ask:type>
                      <ask:lineSketchFreehand/>
                    </ask:type>
                  </ask:lineSketchStyleProps>
                </a:ext>
              </a:extLst>
            </a:ln>
            <a:effectLst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lIns="648000" rtlCol="0" anchor="ctr"/>
            <a:lstStyle/>
            <a:p>
              <a:pPr algn="ctr"/>
              <a:r>
                <a:rPr lang="en-US" sz="1600" b="1" dirty="0">
                  <a:solidFill>
                    <a:schemeClr val="tx1"/>
                  </a:solidFill>
                </a:rPr>
                <a:t>4+ </a:t>
              </a:r>
              <a:r>
                <a:rPr lang="en-US" sz="1600" b="1" dirty="0" err="1">
                  <a:solidFill>
                    <a:schemeClr val="tx1"/>
                  </a:solidFill>
                </a:rPr>
                <a:t>Mln</a:t>
              </a:r>
              <a:r>
                <a:rPr lang="en-US" sz="1600" b="1" dirty="0">
                  <a:solidFill>
                    <a:schemeClr val="tx1"/>
                  </a:solidFill>
                </a:rPr>
                <a:t> </a:t>
              </a:r>
            </a:p>
            <a:p>
              <a:pPr algn="ctr"/>
              <a:r>
                <a:rPr lang="en-US" sz="1600" dirty="0">
                  <a:solidFill>
                    <a:schemeClr val="tx1"/>
                  </a:solidFill>
                </a:rPr>
                <a:t>black-box</a:t>
              </a:r>
            </a:p>
          </p:txBody>
        </p:sp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id="{F4466AA0-9E23-724D-9E2B-ADB1E930552D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138448" y="739250"/>
              <a:ext cx="2127274" cy="2127274"/>
              <a:chOff x="3462128" y="2391217"/>
              <a:chExt cx="3768595" cy="3768595"/>
            </a:xfrm>
          </p:grpSpPr>
          <p:sp>
            <p:nvSpPr>
              <p:cNvPr id="12" name="Arc 11">
                <a:extLst>
                  <a:ext uri="{FF2B5EF4-FFF2-40B4-BE49-F238E27FC236}">
                    <a16:creationId xmlns:a16="http://schemas.microsoft.com/office/drawing/2014/main" id="{3D0A2FB2-E718-9749-AA2C-100DB4FE25A6}"/>
                  </a:ext>
                </a:extLst>
              </p:cNvPr>
              <p:cNvSpPr/>
              <p:nvPr/>
            </p:nvSpPr>
            <p:spPr>
              <a:xfrm rot="2109698">
                <a:off x="4037412" y="2890651"/>
                <a:ext cx="2813119" cy="2789501"/>
              </a:xfrm>
              <a:prstGeom prst="arc">
                <a:avLst>
                  <a:gd name="adj1" fmla="val 17769304"/>
                  <a:gd name="adj2" fmla="val 76382"/>
                </a:avLst>
              </a:prstGeom>
              <a:noFill/>
              <a:ln>
                <a:solidFill>
                  <a:schemeClr val="tx1"/>
                </a:solidFill>
              </a:ln>
            </p:spPr>
            <p:style>
              <a:lnRef idx="1">
                <a:schemeClr val="accent2"/>
              </a:lnRef>
              <a:fillRef idx="0">
                <a:schemeClr val="accent2"/>
              </a:fillRef>
              <a:effectRef idx="0">
                <a:schemeClr val="accent2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marL="0" marR="0" lvl="0" indent="0" algn="ctr" defTabSz="914400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0" b="0" i="0" u="none" strike="noStrike" kern="1200" cap="none" spc="0" normalizeH="0" baseline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ea typeface="+mn-ea"/>
                  <a:cs typeface="+mn-cs"/>
                </a:endParaRPr>
              </a:p>
            </p:txBody>
          </p:sp>
          <p:sp>
            <p:nvSpPr>
              <p:cNvPr id="13" name="Arc 12">
                <a:extLst>
                  <a:ext uri="{FF2B5EF4-FFF2-40B4-BE49-F238E27FC236}">
                    <a16:creationId xmlns:a16="http://schemas.microsoft.com/office/drawing/2014/main" id="{6E89284A-946D-F5F3-4698-8AA72DB75136}"/>
                  </a:ext>
                </a:extLst>
              </p:cNvPr>
              <p:cNvSpPr/>
              <p:nvPr/>
            </p:nvSpPr>
            <p:spPr>
              <a:xfrm rot="2475301">
                <a:off x="3715819" y="2764894"/>
                <a:ext cx="2869662" cy="2863905"/>
              </a:xfrm>
              <a:prstGeom prst="arc">
                <a:avLst>
                  <a:gd name="adj1" fmla="val 7112477"/>
                  <a:gd name="adj2" fmla="val 10220081"/>
                </a:avLst>
              </a:prstGeom>
              <a:noFill/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marL="0" marR="0" lvl="0" indent="0" algn="ctr" defTabSz="914400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0" b="0" i="0" u="none" strike="noStrike" kern="1200" cap="none" spc="0" normalizeH="0" baseline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ea typeface="+mn-ea"/>
                  <a:cs typeface="+mn-cs"/>
                </a:endParaRPr>
              </a:p>
            </p:txBody>
          </p:sp>
          <p:sp>
            <p:nvSpPr>
              <p:cNvPr id="14" name="Arc 13">
                <a:extLst>
                  <a:ext uri="{FF2B5EF4-FFF2-40B4-BE49-F238E27FC236}">
                    <a16:creationId xmlns:a16="http://schemas.microsoft.com/office/drawing/2014/main" id="{AC17CD66-8A05-FE3F-DCB4-A6E3C2713BAD}"/>
                  </a:ext>
                </a:extLst>
              </p:cNvPr>
              <p:cNvSpPr/>
              <p:nvPr/>
            </p:nvSpPr>
            <p:spPr>
              <a:xfrm rot="2109698">
                <a:off x="3965071" y="2820334"/>
                <a:ext cx="2869662" cy="2761883"/>
              </a:xfrm>
              <a:prstGeom prst="arc">
                <a:avLst>
                  <a:gd name="adj1" fmla="val 11595021"/>
                  <a:gd name="adj2" fmla="val 15315503"/>
                </a:avLst>
              </a:prstGeom>
              <a:noFill/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marL="0" marR="0" lvl="0" indent="0" algn="ctr" defTabSz="914400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0" b="0" i="0" u="none" strike="noStrike" kern="1200" cap="none" spc="0" normalizeH="0" baseline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ea typeface="+mn-ea"/>
                  <a:cs typeface="+mn-cs"/>
                </a:endParaRPr>
              </a:p>
            </p:txBody>
          </p:sp>
          <p:grpSp>
            <p:nvGrpSpPr>
              <p:cNvPr id="15" name="Group 14">
                <a:extLst>
                  <a:ext uri="{FF2B5EF4-FFF2-40B4-BE49-F238E27FC236}">
                    <a16:creationId xmlns:a16="http://schemas.microsoft.com/office/drawing/2014/main" id="{36491BF0-0D5D-E340-A4FF-214EDE7C1DF2}"/>
                  </a:ext>
                </a:extLst>
              </p:cNvPr>
              <p:cNvGrpSpPr>
                <a:grpSpLocks noChangeAspect="1"/>
              </p:cNvGrpSpPr>
              <p:nvPr/>
            </p:nvGrpSpPr>
            <p:grpSpPr>
              <a:xfrm>
                <a:off x="3462128" y="2391217"/>
                <a:ext cx="3768595" cy="3768595"/>
                <a:chOff x="-9903" y="2147570"/>
                <a:chExt cx="3425995" cy="3425995"/>
              </a:xfrm>
            </p:grpSpPr>
            <p:sp>
              <p:nvSpPr>
                <p:cNvPr id="16" name="Arc 15">
                  <a:extLst>
                    <a:ext uri="{FF2B5EF4-FFF2-40B4-BE49-F238E27FC236}">
                      <a16:creationId xmlns:a16="http://schemas.microsoft.com/office/drawing/2014/main" id="{AB98DB0F-92F0-F19A-B323-8DA088C079B9}"/>
                    </a:ext>
                  </a:extLst>
                </p:cNvPr>
                <p:cNvSpPr/>
                <p:nvPr/>
              </p:nvSpPr>
              <p:spPr>
                <a:xfrm rot="4723471">
                  <a:off x="171149" y="2369729"/>
                  <a:ext cx="2931844" cy="3046256"/>
                </a:xfrm>
                <a:prstGeom prst="arc">
                  <a:avLst>
                    <a:gd name="adj1" fmla="val 1707404"/>
                    <a:gd name="adj2" fmla="val 4687859"/>
                  </a:avLst>
                </a:prstGeom>
                <a:noFill/>
                <a:ln>
                  <a:solidFill>
                    <a:schemeClr val="tx1"/>
                  </a:solidFill>
                </a:ln>
              </p:spPr>
              <p:style>
                <a:lnRef idx="1">
                  <a:schemeClr val="accent2"/>
                </a:lnRef>
                <a:fillRef idx="0">
                  <a:schemeClr val="accent2"/>
                </a:fillRef>
                <a:effectRef idx="0">
                  <a:schemeClr val="accent2"/>
                </a:effectRef>
                <a:fontRef idx="minor">
                  <a:schemeClr val="tx1"/>
                </a:fontRef>
              </p:style>
              <p:txBody>
                <a:bodyPr rtlCol="0" anchor="ctr"/>
                <a:lstStyle/>
                <a:p>
                  <a:pPr marL="0" marR="0" lvl="0" indent="0" algn="ctr" defTabSz="914400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200" b="0" i="0" u="none" strike="noStrike" kern="1200" cap="none" spc="0" normalizeH="0" baseline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ea typeface="+mn-ea"/>
                    <a:cs typeface="+mn-cs"/>
                  </a:endParaRPr>
                </a:p>
              </p:txBody>
            </p:sp>
            <p:sp>
              <p:nvSpPr>
                <p:cNvPr id="17" name="Arc 16">
                  <a:extLst>
                    <a:ext uri="{FF2B5EF4-FFF2-40B4-BE49-F238E27FC236}">
                      <a16:creationId xmlns:a16="http://schemas.microsoft.com/office/drawing/2014/main" id="{4F3544CF-34B6-964F-4B4A-4AFF06543A17}"/>
                    </a:ext>
                  </a:extLst>
                </p:cNvPr>
                <p:cNvSpPr/>
                <p:nvPr/>
              </p:nvSpPr>
              <p:spPr>
                <a:xfrm rot="4723471">
                  <a:off x="171892" y="2394076"/>
                  <a:ext cx="2931844" cy="3046256"/>
                </a:xfrm>
                <a:prstGeom prst="arc">
                  <a:avLst>
                    <a:gd name="adj1" fmla="val 17672243"/>
                    <a:gd name="adj2" fmla="val 46265"/>
                  </a:avLst>
                </a:prstGeom>
                <a:noFill/>
                <a:ln>
                  <a:solidFill>
                    <a:schemeClr val="tx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/>
                <a:lstStyle/>
                <a:p>
                  <a:pPr marL="0" marR="0" lvl="0" indent="0" algn="ctr" defTabSz="914400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200" b="0" i="0" u="none" strike="noStrike" kern="1200" cap="none" spc="0" normalizeH="0" baseline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ea typeface="+mn-ea"/>
                    <a:cs typeface="+mn-cs"/>
                  </a:endParaRPr>
                </a:p>
              </p:txBody>
            </p:sp>
            <p:sp>
              <p:nvSpPr>
                <p:cNvPr id="18" name="Arc 17">
                  <a:extLst>
                    <a:ext uri="{FF2B5EF4-FFF2-40B4-BE49-F238E27FC236}">
                      <a16:creationId xmlns:a16="http://schemas.microsoft.com/office/drawing/2014/main" id="{1482063B-4698-BCD5-5CB3-AC4DA237F480}"/>
                    </a:ext>
                  </a:extLst>
                </p:cNvPr>
                <p:cNvSpPr/>
                <p:nvPr/>
              </p:nvSpPr>
              <p:spPr>
                <a:xfrm rot="4723471">
                  <a:off x="156490" y="2369726"/>
                  <a:ext cx="2961162" cy="3046256"/>
                </a:xfrm>
                <a:prstGeom prst="arc">
                  <a:avLst>
                    <a:gd name="adj1" fmla="val 11595021"/>
                    <a:gd name="adj2" fmla="val 16280303"/>
                  </a:avLst>
                </a:prstGeom>
                <a:noFill/>
                <a:ln>
                  <a:solidFill>
                    <a:schemeClr val="tx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/>
                <a:lstStyle/>
                <a:p>
                  <a:pPr marL="0" marR="0" lvl="0" indent="0" algn="ctr" defTabSz="914400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200" b="0" i="0" u="none" strike="noStrike" kern="1200" cap="none" spc="0" normalizeH="0" baseline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ea typeface="+mn-ea"/>
                    <a:cs typeface="+mn-cs"/>
                  </a:endParaRPr>
                </a:p>
              </p:txBody>
            </p:sp>
            <p:sp>
              <p:nvSpPr>
                <p:cNvPr id="19" name="Arc 18">
                  <a:extLst>
                    <a:ext uri="{FF2B5EF4-FFF2-40B4-BE49-F238E27FC236}">
                      <a16:creationId xmlns:a16="http://schemas.microsoft.com/office/drawing/2014/main" id="{07C38C9F-41F3-8A52-128F-9F083FFD5AFA}"/>
                    </a:ext>
                  </a:extLst>
                </p:cNvPr>
                <p:cNvSpPr/>
                <p:nvPr/>
              </p:nvSpPr>
              <p:spPr>
                <a:xfrm rot="4723471">
                  <a:off x="171149" y="2369732"/>
                  <a:ext cx="2931847" cy="3046258"/>
                </a:xfrm>
                <a:prstGeom prst="arc">
                  <a:avLst>
                    <a:gd name="adj1" fmla="val 7112477"/>
                    <a:gd name="adj2" fmla="val 10220081"/>
                  </a:avLst>
                </a:prstGeom>
                <a:noFill/>
                <a:ln>
                  <a:solidFill>
                    <a:schemeClr val="tx1"/>
                  </a:solidFill>
                </a:ln>
              </p:spPr>
              <p:style>
                <a:lnRef idx="1">
                  <a:schemeClr val="accent2"/>
                </a:lnRef>
                <a:fillRef idx="0">
                  <a:schemeClr val="accent2"/>
                </a:fillRef>
                <a:effectRef idx="0">
                  <a:schemeClr val="accent2"/>
                </a:effectRef>
                <a:fontRef idx="minor">
                  <a:schemeClr val="tx1"/>
                </a:fontRef>
              </p:style>
              <p:txBody>
                <a:bodyPr rtlCol="0" anchor="ctr"/>
                <a:lstStyle/>
                <a:p>
                  <a:pPr marL="0" marR="0" lvl="0" indent="0" algn="ctr" defTabSz="914400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200" b="0" i="0" u="none" strike="noStrike" kern="1200" cap="none" spc="0" normalizeH="0" baseline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ea typeface="+mn-ea"/>
                    <a:cs typeface="+mn-cs"/>
                  </a:endParaRPr>
                </a:p>
              </p:txBody>
            </p:sp>
            <p:sp>
              <p:nvSpPr>
                <p:cNvPr id="20" name="Oval 19">
                  <a:extLst>
                    <a:ext uri="{FF2B5EF4-FFF2-40B4-BE49-F238E27FC236}">
                      <a16:creationId xmlns:a16="http://schemas.microsoft.com/office/drawing/2014/main" id="{1D2CAFF4-E323-ECF9-63E7-0A15A7FE9DD3}"/>
                    </a:ext>
                  </a:extLst>
                </p:cNvPr>
                <p:cNvSpPr/>
                <p:nvPr/>
              </p:nvSpPr>
              <p:spPr bwMode="gray">
                <a:xfrm>
                  <a:off x="-9903" y="2147570"/>
                  <a:ext cx="3425995" cy="3425995"/>
                </a:xfrm>
                <a:prstGeom prst="ellipse">
                  <a:avLst/>
                </a:prstGeom>
                <a:noFill/>
                <a:ln w="19050" algn="ctr">
                  <a:noFill/>
                  <a:miter lim="800000"/>
                  <a:headEnd/>
                  <a:tailEnd/>
                </a:ln>
              </p:spPr>
              <p:txBody>
                <a:bodyPr wrap="square" lIns="88900" tIns="88900" rIns="88900" bIns="88900" rtlCol="0" anchor="ctr"/>
                <a:lstStyle/>
                <a:p>
                  <a:pPr marL="0" marR="0" lvl="0" indent="0" algn="ctr" defTabSz="914400" fontAlgn="auto" latinLnBrk="0" hangingPunct="1">
                    <a:lnSpc>
                      <a:spcPct val="106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 typeface="Wingdings 2" pitchFamily="18" charset="2"/>
                    <a:buNone/>
                    <a:tabLst/>
                    <a:defRPr/>
                  </a:pPr>
                  <a:endParaRPr kumimoji="0" lang="en-US" sz="1100" b="1" i="0" u="none" strike="noStrike" kern="1200" cap="none" spc="0" normalizeH="0" baseline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ea typeface="+mn-ea"/>
                    <a:cs typeface="+mn-cs"/>
                  </a:endParaRPr>
                </a:p>
              </p:txBody>
            </p:sp>
            <p:sp>
              <p:nvSpPr>
                <p:cNvPr id="21" name="Arc 20">
                  <a:extLst>
                    <a:ext uri="{FF2B5EF4-FFF2-40B4-BE49-F238E27FC236}">
                      <a16:creationId xmlns:a16="http://schemas.microsoft.com/office/drawing/2014/main" id="{37BA2C57-666C-B3B0-4254-C5DF0A345407}"/>
                    </a:ext>
                  </a:extLst>
                </p:cNvPr>
                <p:cNvSpPr/>
                <p:nvPr/>
              </p:nvSpPr>
              <p:spPr>
                <a:xfrm>
                  <a:off x="307055" y="2622843"/>
                  <a:ext cx="2648919" cy="2549431"/>
                </a:xfrm>
                <a:prstGeom prst="arc">
                  <a:avLst>
                    <a:gd name="adj1" fmla="val 1707404"/>
                    <a:gd name="adj2" fmla="val 4687859"/>
                  </a:avLst>
                </a:prstGeom>
                <a:noFill/>
                <a:ln>
                  <a:solidFill>
                    <a:schemeClr val="tx1"/>
                  </a:solidFill>
                </a:ln>
              </p:spPr>
              <p:style>
                <a:lnRef idx="1">
                  <a:schemeClr val="accent2"/>
                </a:lnRef>
                <a:fillRef idx="0">
                  <a:schemeClr val="accent2"/>
                </a:fillRef>
                <a:effectRef idx="0">
                  <a:schemeClr val="accent2"/>
                </a:effectRef>
                <a:fontRef idx="minor">
                  <a:schemeClr val="tx1"/>
                </a:fontRef>
              </p:style>
              <p:txBody>
                <a:bodyPr rtlCol="0" anchor="ctr"/>
                <a:lstStyle/>
                <a:p>
                  <a:pPr marL="0" marR="0" lvl="0" indent="0" algn="ctr" defTabSz="914400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200" b="0" i="0" u="none" strike="noStrike" kern="1200" cap="none" spc="0" normalizeH="0" baseline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ea typeface="+mn-ea"/>
                    <a:cs typeface="+mn-cs"/>
                  </a:endParaRPr>
                </a:p>
              </p:txBody>
            </p:sp>
            <p:sp>
              <p:nvSpPr>
                <p:cNvPr id="22" name="Arc 21">
                  <a:extLst>
                    <a:ext uri="{FF2B5EF4-FFF2-40B4-BE49-F238E27FC236}">
                      <a16:creationId xmlns:a16="http://schemas.microsoft.com/office/drawing/2014/main" id="{EC3417C0-7F7C-16C9-9454-D3E0A2C6A9E7}"/>
                    </a:ext>
                  </a:extLst>
                </p:cNvPr>
                <p:cNvSpPr/>
                <p:nvPr/>
              </p:nvSpPr>
              <p:spPr>
                <a:xfrm>
                  <a:off x="346007" y="2622843"/>
                  <a:ext cx="2571015" cy="2549431"/>
                </a:xfrm>
                <a:prstGeom prst="arc">
                  <a:avLst>
                    <a:gd name="adj1" fmla="val 17769304"/>
                    <a:gd name="adj2" fmla="val 76382"/>
                  </a:avLst>
                </a:prstGeom>
                <a:noFill/>
                <a:ln>
                  <a:solidFill>
                    <a:schemeClr val="tx1"/>
                  </a:solidFill>
                </a:ln>
              </p:spPr>
              <p:style>
                <a:lnRef idx="1">
                  <a:schemeClr val="accent2"/>
                </a:lnRef>
                <a:fillRef idx="0">
                  <a:schemeClr val="accent2"/>
                </a:fillRef>
                <a:effectRef idx="0">
                  <a:schemeClr val="accent2"/>
                </a:effectRef>
                <a:fontRef idx="minor">
                  <a:schemeClr val="tx1"/>
                </a:fontRef>
              </p:style>
              <p:txBody>
                <a:bodyPr rtlCol="0" anchor="ctr"/>
                <a:lstStyle/>
                <a:p>
                  <a:pPr marL="0" marR="0" lvl="0" indent="0" algn="ctr" defTabSz="914400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200" b="0" i="0" u="none" strike="noStrike" kern="1200" cap="none" spc="0" normalizeH="0" baseline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ea typeface="+mn-ea"/>
                    <a:cs typeface="+mn-cs"/>
                  </a:endParaRPr>
                </a:p>
              </p:txBody>
            </p:sp>
            <p:sp>
              <p:nvSpPr>
                <p:cNvPr id="23" name="Arc 22">
                  <a:extLst>
                    <a:ext uri="{FF2B5EF4-FFF2-40B4-BE49-F238E27FC236}">
                      <a16:creationId xmlns:a16="http://schemas.microsoft.com/office/drawing/2014/main" id="{EC217AC7-8617-00C7-F00C-8FD737629EBF}"/>
                    </a:ext>
                  </a:extLst>
                </p:cNvPr>
                <p:cNvSpPr/>
                <p:nvPr/>
              </p:nvSpPr>
              <p:spPr>
                <a:xfrm>
                  <a:off x="307055" y="2622843"/>
                  <a:ext cx="2648919" cy="2549431"/>
                </a:xfrm>
                <a:prstGeom prst="arc">
                  <a:avLst>
                    <a:gd name="adj1" fmla="val 7112477"/>
                    <a:gd name="adj2" fmla="val 10220081"/>
                  </a:avLst>
                </a:prstGeom>
                <a:noFill/>
                <a:ln>
                  <a:solidFill>
                    <a:schemeClr val="tx1"/>
                  </a:solidFill>
                </a:ln>
              </p:spPr>
              <p:style>
                <a:lnRef idx="1">
                  <a:schemeClr val="accent2"/>
                </a:lnRef>
                <a:fillRef idx="0">
                  <a:schemeClr val="accent2"/>
                </a:fillRef>
                <a:effectRef idx="0">
                  <a:schemeClr val="accent2"/>
                </a:effectRef>
                <a:fontRef idx="minor">
                  <a:schemeClr val="tx1"/>
                </a:fontRef>
              </p:style>
              <p:txBody>
                <a:bodyPr rtlCol="0" anchor="ctr"/>
                <a:lstStyle/>
                <a:p>
                  <a:pPr marL="0" marR="0" lvl="0" indent="0" algn="ctr" defTabSz="914400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200" b="0" i="0" u="none" strike="noStrike" kern="1200" cap="none" spc="0" normalizeH="0" baseline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ea typeface="+mn-ea"/>
                    <a:cs typeface="+mn-cs"/>
                  </a:endParaRPr>
                </a:p>
              </p:txBody>
            </p:sp>
            <p:sp>
              <p:nvSpPr>
                <p:cNvPr id="24" name="Arc 23">
                  <a:extLst>
                    <a:ext uri="{FF2B5EF4-FFF2-40B4-BE49-F238E27FC236}">
                      <a16:creationId xmlns:a16="http://schemas.microsoft.com/office/drawing/2014/main" id="{748822AE-9094-2E01-AE33-51F2E6CD2EEF}"/>
                    </a:ext>
                  </a:extLst>
                </p:cNvPr>
                <p:cNvSpPr/>
                <p:nvPr/>
              </p:nvSpPr>
              <p:spPr>
                <a:xfrm rot="21284122">
                  <a:off x="376440" y="2639316"/>
                  <a:ext cx="2648919" cy="2549431"/>
                </a:xfrm>
                <a:prstGeom prst="arc">
                  <a:avLst>
                    <a:gd name="adj1" fmla="val 11595021"/>
                    <a:gd name="adj2" fmla="val 15315503"/>
                  </a:avLst>
                </a:prstGeom>
                <a:noFill/>
                <a:ln>
                  <a:solidFill>
                    <a:schemeClr val="tx1"/>
                  </a:solidFill>
                </a:ln>
              </p:spPr>
              <p:style>
                <a:lnRef idx="1">
                  <a:schemeClr val="accent2"/>
                </a:lnRef>
                <a:fillRef idx="0">
                  <a:schemeClr val="accent2"/>
                </a:fillRef>
                <a:effectRef idx="0">
                  <a:schemeClr val="accent2"/>
                </a:effectRef>
                <a:fontRef idx="minor">
                  <a:schemeClr val="tx1"/>
                </a:fontRef>
              </p:style>
              <p:txBody>
                <a:bodyPr rtlCol="0" anchor="ctr"/>
                <a:lstStyle/>
                <a:p>
                  <a:pPr marL="0" marR="0" lvl="0" indent="0" algn="ctr" defTabSz="914400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200" b="0" i="0" u="none" strike="noStrike" kern="1200" cap="none" spc="0" normalizeH="0" baseline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ea typeface="+mn-ea"/>
                    <a:cs typeface="+mn-cs"/>
                  </a:endParaRPr>
                </a:p>
              </p:txBody>
            </p:sp>
            <p:sp>
              <p:nvSpPr>
                <p:cNvPr id="25" name="Oval 24">
                  <a:extLst>
                    <a:ext uri="{FF2B5EF4-FFF2-40B4-BE49-F238E27FC236}">
                      <a16:creationId xmlns:a16="http://schemas.microsoft.com/office/drawing/2014/main" id="{62F11EE2-DB6F-7A97-343E-92EBC69D0FB7}"/>
                    </a:ext>
                  </a:extLst>
                </p:cNvPr>
                <p:cNvSpPr/>
                <p:nvPr/>
              </p:nvSpPr>
              <p:spPr bwMode="auto">
                <a:xfrm>
                  <a:off x="504502" y="2780436"/>
                  <a:ext cx="2250495" cy="2244487"/>
                </a:xfrm>
                <a:prstGeom prst="ellipse">
                  <a:avLst/>
                </a:prstGeom>
                <a:solidFill>
                  <a:schemeClr val="bg1"/>
                </a:solidFill>
                <a:ln w="6350">
                  <a:solidFill>
                    <a:schemeClr val="tx1"/>
                  </a:solidFill>
                  <a:prstDash val="solid"/>
                  <a:headEnd/>
                  <a:tailEnd/>
                </a:ln>
              </p:spPr>
              <p:style>
                <a:lnRef idx="2">
                  <a:schemeClr val="accent1"/>
                </a:lnRef>
                <a:fillRef idx="1">
                  <a:schemeClr val="lt1"/>
                </a:fillRef>
                <a:effectRef idx="0">
                  <a:schemeClr val="accent1"/>
                </a:effectRef>
                <a:fontRef idx="minor">
                  <a:schemeClr val="dk1"/>
                </a:fontRef>
              </p:style>
              <p:txBody>
                <a:bodyPr lIns="0" rIns="0" rtlCol="0" anchor="ctr">
                  <a:noAutofit/>
                </a:bodyPr>
                <a:lstStyle/>
                <a:p>
                  <a:pPr lvl="0" algn="ctr" defTabSz="892941">
                    <a:defRPr/>
                  </a:pPr>
                  <a:endParaRPr kumimoji="0" lang="en-US" sz="1050" b="0" i="0" u="none" strike="noStrike" kern="0" cap="none" spc="0" normalizeH="0" baseline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ea typeface="Verdana" panose="020B0604030504040204" pitchFamily="34" charset="0"/>
                    <a:cs typeface="Verdana" panose="020B0604030504040204" pitchFamily="34" charset="0"/>
                  </a:endParaRPr>
                </a:p>
              </p:txBody>
            </p:sp>
          </p:grpSp>
        </p:grpSp>
        <p:pic>
          <p:nvPicPr>
            <p:cNvPr id="11" name="Picture 3">
              <a:extLst>
                <a:ext uri="{FF2B5EF4-FFF2-40B4-BE49-F238E27FC236}">
                  <a16:creationId xmlns:a16="http://schemas.microsoft.com/office/drawing/2014/main" id="{8AED8E19-908A-F890-6E61-B9941128826F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637108" y="1326576"/>
              <a:ext cx="1129954" cy="952622"/>
            </a:xfrm>
            <a:prstGeom prst="rect">
              <a:avLst/>
            </a:prstGeom>
            <a:noFill/>
            <a:ln>
              <a:noFill/>
            </a:ln>
          </p:spPr>
        </p:pic>
      </p:grpSp>
      <p:grpSp>
        <p:nvGrpSpPr>
          <p:cNvPr id="26" name="Group 25">
            <a:extLst>
              <a:ext uri="{FF2B5EF4-FFF2-40B4-BE49-F238E27FC236}">
                <a16:creationId xmlns:a16="http://schemas.microsoft.com/office/drawing/2014/main" id="{57D1AA34-0510-6E99-C244-332D4BFC938B}"/>
              </a:ext>
            </a:extLst>
          </p:cNvPr>
          <p:cNvGrpSpPr/>
          <p:nvPr/>
        </p:nvGrpSpPr>
        <p:grpSpPr>
          <a:xfrm>
            <a:off x="898185" y="1971660"/>
            <a:ext cx="2926009" cy="1598253"/>
            <a:chOff x="1210102" y="2491397"/>
            <a:chExt cx="3894519" cy="2127274"/>
          </a:xfrm>
        </p:grpSpPr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A4ED5245-A3FB-159C-5A32-E420ABEB31FF}"/>
                </a:ext>
              </a:extLst>
            </p:cNvPr>
            <p:cNvSpPr/>
            <p:nvPr/>
          </p:nvSpPr>
          <p:spPr>
            <a:xfrm>
              <a:off x="1210102" y="3078723"/>
              <a:ext cx="2606986" cy="952622"/>
            </a:xfrm>
            <a:custGeom>
              <a:avLst/>
              <a:gdLst>
                <a:gd name="connsiteX0" fmla="*/ 0 w 2606986"/>
                <a:gd name="connsiteY0" fmla="*/ 0 h 952622"/>
                <a:gd name="connsiteX1" fmla="*/ 599607 w 2606986"/>
                <a:gd name="connsiteY1" fmla="*/ 0 h 952622"/>
                <a:gd name="connsiteX2" fmla="*/ 1173144 w 2606986"/>
                <a:gd name="connsiteY2" fmla="*/ 0 h 952622"/>
                <a:gd name="connsiteX3" fmla="*/ 1772750 w 2606986"/>
                <a:gd name="connsiteY3" fmla="*/ 0 h 952622"/>
                <a:gd name="connsiteX4" fmla="*/ 2606986 w 2606986"/>
                <a:gd name="connsiteY4" fmla="*/ 0 h 952622"/>
                <a:gd name="connsiteX5" fmla="*/ 2606986 w 2606986"/>
                <a:gd name="connsiteY5" fmla="*/ 485837 h 952622"/>
                <a:gd name="connsiteX6" fmla="*/ 2606986 w 2606986"/>
                <a:gd name="connsiteY6" fmla="*/ 952622 h 952622"/>
                <a:gd name="connsiteX7" fmla="*/ 2033449 w 2606986"/>
                <a:gd name="connsiteY7" fmla="*/ 952622 h 952622"/>
                <a:gd name="connsiteX8" fmla="*/ 1329563 w 2606986"/>
                <a:gd name="connsiteY8" fmla="*/ 952622 h 952622"/>
                <a:gd name="connsiteX9" fmla="*/ 756026 w 2606986"/>
                <a:gd name="connsiteY9" fmla="*/ 952622 h 952622"/>
                <a:gd name="connsiteX10" fmla="*/ 0 w 2606986"/>
                <a:gd name="connsiteY10" fmla="*/ 952622 h 952622"/>
                <a:gd name="connsiteX11" fmla="*/ 0 w 2606986"/>
                <a:gd name="connsiteY11" fmla="*/ 495363 h 952622"/>
                <a:gd name="connsiteX12" fmla="*/ 0 w 2606986"/>
                <a:gd name="connsiteY12" fmla="*/ 0 h 9526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606986" h="952622" fill="none" extrusionOk="0">
                  <a:moveTo>
                    <a:pt x="0" y="0"/>
                  </a:moveTo>
                  <a:cubicBezTo>
                    <a:pt x="146287" y="7541"/>
                    <a:pt x="313367" y="-8462"/>
                    <a:pt x="599607" y="0"/>
                  </a:cubicBezTo>
                  <a:cubicBezTo>
                    <a:pt x="885847" y="8462"/>
                    <a:pt x="987537" y="-7059"/>
                    <a:pt x="1173144" y="0"/>
                  </a:cubicBezTo>
                  <a:cubicBezTo>
                    <a:pt x="1358751" y="7059"/>
                    <a:pt x="1489744" y="4624"/>
                    <a:pt x="1772750" y="0"/>
                  </a:cubicBezTo>
                  <a:cubicBezTo>
                    <a:pt x="2055756" y="-4624"/>
                    <a:pt x="2439020" y="-15436"/>
                    <a:pt x="2606986" y="0"/>
                  </a:cubicBezTo>
                  <a:cubicBezTo>
                    <a:pt x="2622447" y="193515"/>
                    <a:pt x="2598357" y="369860"/>
                    <a:pt x="2606986" y="485837"/>
                  </a:cubicBezTo>
                  <a:cubicBezTo>
                    <a:pt x="2615615" y="601814"/>
                    <a:pt x="2621835" y="765643"/>
                    <a:pt x="2606986" y="952622"/>
                  </a:cubicBezTo>
                  <a:cubicBezTo>
                    <a:pt x="2322857" y="943032"/>
                    <a:pt x="2154854" y="954552"/>
                    <a:pt x="2033449" y="952622"/>
                  </a:cubicBezTo>
                  <a:cubicBezTo>
                    <a:pt x="1912044" y="950692"/>
                    <a:pt x="1651747" y="947677"/>
                    <a:pt x="1329563" y="952622"/>
                  </a:cubicBezTo>
                  <a:cubicBezTo>
                    <a:pt x="1007379" y="957567"/>
                    <a:pt x="941748" y="932856"/>
                    <a:pt x="756026" y="952622"/>
                  </a:cubicBezTo>
                  <a:cubicBezTo>
                    <a:pt x="570304" y="972388"/>
                    <a:pt x="232663" y="956967"/>
                    <a:pt x="0" y="952622"/>
                  </a:cubicBezTo>
                  <a:cubicBezTo>
                    <a:pt x="8992" y="832503"/>
                    <a:pt x="-12638" y="668150"/>
                    <a:pt x="0" y="495363"/>
                  </a:cubicBezTo>
                  <a:cubicBezTo>
                    <a:pt x="12638" y="322576"/>
                    <a:pt x="23695" y="237834"/>
                    <a:pt x="0" y="0"/>
                  </a:cubicBezTo>
                  <a:close/>
                </a:path>
                <a:path w="2606986" h="952622" stroke="0" extrusionOk="0">
                  <a:moveTo>
                    <a:pt x="0" y="0"/>
                  </a:moveTo>
                  <a:cubicBezTo>
                    <a:pt x="195509" y="2002"/>
                    <a:pt x="320785" y="-4255"/>
                    <a:pt x="573537" y="0"/>
                  </a:cubicBezTo>
                  <a:cubicBezTo>
                    <a:pt x="826289" y="4255"/>
                    <a:pt x="1055840" y="-9411"/>
                    <a:pt x="1225283" y="0"/>
                  </a:cubicBezTo>
                  <a:cubicBezTo>
                    <a:pt x="1394726" y="9411"/>
                    <a:pt x="1640126" y="16207"/>
                    <a:pt x="1850960" y="0"/>
                  </a:cubicBezTo>
                  <a:cubicBezTo>
                    <a:pt x="2061794" y="-16207"/>
                    <a:pt x="2239244" y="17555"/>
                    <a:pt x="2606986" y="0"/>
                  </a:cubicBezTo>
                  <a:cubicBezTo>
                    <a:pt x="2607379" y="142235"/>
                    <a:pt x="2595907" y="306749"/>
                    <a:pt x="2606986" y="485837"/>
                  </a:cubicBezTo>
                  <a:cubicBezTo>
                    <a:pt x="2618065" y="664925"/>
                    <a:pt x="2624125" y="764109"/>
                    <a:pt x="2606986" y="952622"/>
                  </a:cubicBezTo>
                  <a:cubicBezTo>
                    <a:pt x="2451979" y="932900"/>
                    <a:pt x="2192585" y="925087"/>
                    <a:pt x="2007379" y="952622"/>
                  </a:cubicBezTo>
                  <a:cubicBezTo>
                    <a:pt x="1822173" y="980157"/>
                    <a:pt x="1478525" y="957388"/>
                    <a:pt x="1303493" y="952622"/>
                  </a:cubicBezTo>
                  <a:cubicBezTo>
                    <a:pt x="1128461" y="947856"/>
                    <a:pt x="928486" y="932200"/>
                    <a:pt x="677816" y="952622"/>
                  </a:cubicBezTo>
                  <a:cubicBezTo>
                    <a:pt x="427146" y="973044"/>
                    <a:pt x="307081" y="928721"/>
                    <a:pt x="0" y="952622"/>
                  </a:cubicBezTo>
                  <a:cubicBezTo>
                    <a:pt x="2707" y="814839"/>
                    <a:pt x="-635" y="603096"/>
                    <a:pt x="0" y="495363"/>
                  </a:cubicBezTo>
                  <a:cubicBezTo>
                    <a:pt x="635" y="387630"/>
                    <a:pt x="-21459" y="121366"/>
                    <a:pt x="0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solidFill>
                <a:schemeClr val="tx1">
                  <a:lumMod val="50000"/>
                  <a:lumOff val="50000"/>
                </a:schemeClr>
              </a:solidFill>
              <a:extLst>
                <a:ext uri="{C807C97D-BFC1-408E-A445-0C87EB9F89A2}">
                  <ask:lineSketchStyleProps xmlns:ask="http://schemas.microsoft.com/office/drawing/2018/sketchyshapes" sd="1901803019">
                    <a:prstGeom prst="rect">
                      <a:avLst/>
                    </a:prstGeom>
                    <ask:type>
                      <ask:lineSketchFreehand/>
                    </ask:type>
                  </ask:lineSketchStyleProps>
                </a:ext>
              </a:extLst>
            </a:ln>
            <a:effectLst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lIns="90000" rIns="576000" rtlCol="0" anchor="ctr"/>
            <a:lstStyle/>
            <a:p>
              <a:pPr algn="ctr"/>
              <a:r>
                <a:rPr lang="en-US" sz="1600" b="1" dirty="0">
                  <a:solidFill>
                    <a:schemeClr val="tx1"/>
                  </a:solidFill>
                </a:rPr>
                <a:t>25 </a:t>
              </a:r>
              <a:r>
                <a:rPr lang="en-US" sz="1600" b="1" dirty="0" err="1">
                  <a:solidFill>
                    <a:schemeClr val="tx1"/>
                  </a:solidFill>
                </a:rPr>
                <a:t>Bln</a:t>
              </a:r>
              <a:r>
                <a:rPr lang="en-US" sz="1600" b="1" dirty="0">
                  <a:solidFill>
                    <a:schemeClr val="tx1"/>
                  </a:solidFill>
                </a:rPr>
                <a:t> Km</a:t>
              </a:r>
            </a:p>
            <a:p>
              <a:pPr algn="ctr"/>
              <a:r>
                <a:rPr lang="en-US" sz="1600" dirty="0">
                  <a:solidFill>
                    <a:schemeClr val="tx1"/>
                  </a:solidFill>
                </a:rPr>
                <a:t>every year</a:t>
              </a:r>
            </a:p>
          </p:txBody>
        </p:sp>
        <p:grpSp>
          <p:nvGrpSpPr>
            <p:cNvPr id="28" name="Group 27">
              <a:extLst>
                <a:ext uri="{FF2B5EF4-FFF2-40B4-BE49-F238E27FC236}">
                  <a16:creationId xmlns:a16="http://schemas.microsoft.com/office/drawing/2014/main" id="{A7E2A632-CFB0-F9C6-5B2A-BCFC1A7B8232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2977347" y="2491397"/>
              <a:ext cx="2127274" cy="2127274"/>
              <a:chOff x="3462128" y="2391217"/>
              <a:chExt cx="3768595" cy="3768595"/>
            </a:xfrm>
          </p:grpSpPr>
          <p:sp>
            <p:nvSpPr>
              <p:cNvPr id="30" name="Arc 29">
                <a:extLst>
                  <a:ext uri="{FF2B5EF4-FFF2-40B4-BE49-F238E27FC236}">
                    <a16:creationId xmlns:a16="http://schemas.microsoft.com/office/drawing/2014/main" id="{D4765A32-62C2-592D-6D38-44587010F5FB}"/>
                  </a:ext>
                </a:extLst>
              </p:cNvPr>
              <p:cNvSpPr/>
              <p:nvPr/>
            </p:nvSpPr>
            <p:spPr>
              <a:xfrm rot="2109698">
                <a:off x="4037412" y="2890651"/>
                <a:ext cx="2813119" cy="2789501"/>
              </a:xfrm>
              <a:prstGeom prst="arc">
                <a:avLst>
                  <a:gd name="adj1" fmla="val 17769304"/>
                  <a:gd name="adj2" fmla="val 76382"/>
                </a:avLst>
              </a:prstGeom>
              <a:noFill/>
              <a:ln>
                <a:solidFill>
                  <a:schemeClr val="tx1"/>
                </a:solidFill>
              </a:ln>
            </p:spPr>
            <p:style>
              <a:lnRef idx="1">
                <a:schemeClr val="accent2"/>
              </a:lnRef>
              <a:fillRef idx="0">
                <a:schemeClr val="accent2"/>
              </a:fillRef>
              <a:effectRef idx="0">
                <a:schemeClr val="accent2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marL="0" marR="0" lvl="0" indent="0" algn="ctr" defTabSz="914400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0" b="0" i="0" u="none" strike="noStrike" kern="1200" cap="none" spc="0" normalizeH="0" baseline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ea typeface="+mn-ea"/>
                  <a:cs typeface="+mn-cs"/>
                </a:endParaRPr>
              </a:p>
            </p:txBody>
          </p:sp>
          <p:sp>
            <p:nvSpPr>
              <p:cNvPr id="31" name="Arc 30">
                <a:extLst>
                  <a:ext uri="{FF2B5EF4-FFF2-40B4-BE49-F238E27FC236}">
                    <a16:creationId xmlns:a16="http://schemas.microsoft.com/office/drawing/2014/main" id="{D0E2A666-3787-7EAE-8637-332D2A6A329A}"/>
                  </a:ext>
                </a:extLst>
              </p:cNvPr>
              <p:cNvSpPr/>
              <p:nvPr/>
            </p:nvSpPr>
            <p:spPr>
              <a:xfrm rot="2475301">
                <a:off x="3715819" y="2764894"/>
                <a:ext cx="2869662" cy="2863905"/>
              </a:xfrm>
              <a:prstGeom prst="arc">
                <a:avLst>
                  <a:gd name="adj1" fmla="val 7112477"/>
                  <a:gd name="adj2" fmla="val 10220081"/>
                </a:avLst>
              </a:prstGeom>
              <a:noFill/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marL="0" marR="0" lvl="0" indent="0" algn="ctr" defTabSz="914400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0" b="0" i="0" u="none" strike="noStrike" kern="1200" cap="none" spc="0" normalizeH="0" baseline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ea typeface="+mn-ea"/>
                  <a:cs typeface="+mn-cs"/>
                </a:endParaRPr>
              </a:p>
            </p:txBody>
          </p:sp>
          <p:sp>
            <p:nvSpPr>
              <p:cNvPr id="32" name="Arc 31">
                <a:extLst>
                  <a:ext uri="{FF2B5EF4-FFF2-40B4-BE49-F238E27FC236}">
                    <a16:creationId xmlns:a16="http://schemas.microsoft.com/office/drawing/2014/main" id="{5A94E407-FFDA-42F2-8A3D-7127002E63CB}"/>
                  </a:ext>
                </a:extLst>
              </p:cNvPr>
              <p:cNvSpPr/>
              <p:nvPr/>
            </p:nvSpPr>
            <p:spPr>
              <a:xfrm rot="2109698">
                <a:off x="3965071" y="2820334"/>
                <a:ext cx="2869662" cy="2761883"/>
              </a:xfrm>
              <a:prstGeom prst="arc">
                <a:avLst>
                  <a:gd name="adj1" fmla="val 11595021"/>
                  <a:gd name="adj2" fmla="val 15315503"/>
                </a:avLst>
              </a:prstGeom>
              <a:noFill/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marL="0" marR="0" lvl="0" indent="0" algn="ctr" defTabSz="914400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0" b="0" i="0" u="none" strike="noStrike" kern="1200" cap="none" spc="0" normalizeH="0" baseline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ea typeface="+mn-ea"/>
                  <a:cs typeface="+mn-cs"/>
                </a:endParaRPr>
              </a:p>
            </p:txBody>
          </p:sp>
          <p:grpSp>
            <p:nvGrpSpPr>
              <p:cNvPr id="33" name="Group 32">
                <a:extLst>
                  <a:ext uri="{FF2B5EF4-FFF2-40B4-BE49-F238E27FC236}">
                    <a16:creationId xmlns:a16="http://schemas.microsoft.com/office/drawing/2014/main" id="{F9D1F72E-6146-14E0-D28D-103193B81BA6}"/>
                  </a:ext>
                </a:extLst>
              </p:cNvPr>
              <p:cNvGrpSpPr>
                <a:grpSpLocks noChangeAspect="1"/>
              </p:cNvGrpSpPr>
              <p:nvPr/>
            </p:nvGrpSpPr>
            <p:grpSpPr>
              <a:xfrm>
                <a:off x="3462128" y="2391217"/>
                <a:ext cx="3768595" cy="3768595"/>
                <a:chOff x="-9903" y="2147570"/>
                <a:chExt cx="3425995" cy="3425995"/>
              </a:xfrm>
            </p:grpSpPr>
            <p:sp>
              <p:nvSpPr>
                <p:cNvPr id="34" name="Arc 33">
                  <a:extLst>
                    <a:ext uri="{FF2B5EF4-FFF2-40B4-BE49-F238E27FC236}">
                      <a16:creationId xmlns:a16="http://schemas.microsoft.com/office/drawing/2014/main" id="{9C7EF515-6278-3242-91D6-DE04BEC05B95}"/>
                    </a:ext>
                  </a:extLst>
                </p:cNvPr>
                <p:cNvSpPr/>
                <p:nvPr/>
              </p:nvSpPr>
              <p:spPr>
                <a:xfrm rot="4723471">
                  <a:off x="171149" y="2369729"/>
                  <a:ext cx="2931844" cy="3046256"/>
                </a:xfrm>
                <a:prstGeom prst="arc">
                  <a:avLst>
                    <a:gd name="adj1" fmla="val 1707404"/>
                    <a:gd name="adj2" fmla="val 4687859"/>
                  </a:avLst>
                </a:prstGeom>
                <a:noFill/>
                <a:ln>
                  <a:solidFill>
                    <a:schemeClr val="tx1"/>
                  </a:solidFill>
                </a:ln>
              </p:spPr>
              <p:style>
                <a:lnRef idx="1">
                  <a:schemeClr val="accent2"/>
                </a:lnRef>
                <a:fillRef idx="0">
                  <a:schemeClr val="accent2"/>
                </a:fillRef>
                <a:effectRef idx="0">
                  <a:schemeClr val="accent2"/>
                </a:effectRef>
                <a:fontRef idx="minor">
                  <a:schemeClr val="tx1"/>
                </a:fontRef>
              </p:style>
              <p:txBody>
                <a:bodyPr rtlCol="0" anchor="ctr"/>
                <a:lstStyle/>
                <a:p>
                  <a:pPr marL="0" marR="0" lvl="0" indent="0" algn="ctr" defTabSz="914400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200" b="0" i="0" u="none" strike="noStrike" kern="1200" cap="none" spc="0" normalizeH="0" baseline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ea typeface="+mn-ea"/>
                    <a:cs typeface="+mn-cs"/>
                  </a:endParaRPr>
                </a:p>
              </p:txBody>
            </p:sp>
            <p:sp>
              <p:nvSpPr>
                <p:cNvPr id="35" name="Arc 34">
                  <a:extLst>
                    <a:ext uri="{FF2B5EF4-FFF2-40B4-BE49-F238E27FC236}">
                      <a16:creationId xmlns:a16="http://schemas.microsoft.com/office/drawing/2014/main" id="{8927B2B5-CB57-D992-908E-9A8404DA7C7D}"/>
                    </a:ext>
                  </a:extLst>
                </p:cNvPr>
                <p:cNvSpPr/>
                <p:nvPr/>
              </p:nvSpPr>
              <p:spPr>
                <a:xfrm rot="4723471">
                  <a:off x="171892" y="2394076"/>
                  <a:ext cx="2931844" cy="3046256"/>
                </a:xfrm>
                <a:prstGeom prst="arc">
                  <a:avLst>
                    <a:gd name="adj1" fmla="val 17672243"/>
                    <a:gd name="adj2" fmla="val 46265"/>
                  </a:avLst>
                </a:prstGeom>
                <a:noFill/>
                <a:ln>
                  <a:solidFill>
                    <a:schemeClr val="tx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/>
                <a:lstStyle/>
                <a:p>
                  <a:pPr marL="0" marR="0" lvl="0" indent="0" algn="ctr" defTabSz="914400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200" b="0" i="0" u="none" strike="noStrike" kern="1200" cap="none" spc="0" normalizeH="0" baseline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ea typeface="+mn-ea"/>
                    <a:cs typeface="+mn-cs"/>
                  </a:endParaRPr>
                </a:p>
              </p:txBody>
            </p:sp>
            <p:sp>
              <p:nvSpPr>
                <p:cNvPr id="36" name="Arc 35">
                  <a:extLst>
                    <a:ext uri="{FF2B5EF4-FFF2-40B4-BE49-F238E27FC236}">
                      <a16:creationId xmlns:a16="http://schemas.microsoft.com/office/drawing/2014/main" id="{86BCE11B-3E53-D4C8-3D09-84C5F11280F0}"/>
                    </a:ext>
                  </a:extLst>
                </p:cNvPr>
                <p:cNvSpPr/>
                <p:nvPr/>
              </p:nvSpPr>
              <p:spPr>
                <a:xfrm rot="4723471">
                  <a:off x="156490" y="2369726"/>
                  <a:ext cx="2961162" cy="3046256"/>
                </a:xfrm>
                <a:prstGeom prst="arc">
                  <a:avLst>
                    <a:gd name="adj1" fmla="val 11595021"/>
                    <a:gd name="adj2" fmla="val 16280303"/>
                  </a:avLst>
                </a:prstGeom>
                <a:noFill/>
                <a:ln>
                  <a:solidFill>
                    <a:schemeClr val="tx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/>
                <a:lstStyle/>
                <a:p>
                  <a:pPr marL="0" marR="0" lvl="0" indent="0" algn="ctr" defTabSz="914400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200" b="0" i="0" u="none" strike="noStrike" kern="1200" cap="none" spc="0" normalizeH="0" baseline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ea typeface="+mn-ea"/>
                    <a:cs typeface="+mn-cs"/>
                  </a:endParaRPr>
                </a:p>
              </p:txBody>
            </p:sp>
            <p:sp>
              <p:nvSpPr>
                <p:cNvPr id="37" name="Arc 36">
                  <a:extLst>
                    <a:ext uri="{FF2B5EF4-FFF2-40B4-BE49-F238E27FC236}">
                      <a16:creationId xmlns:a16="http://schemas.microsoft.com/office/drawing/2014/main" id="{93D01867-4B7E-DA5F-CD7F-40B4730FA66B}"/>
                    </a:ext>
                  </a:extLst>
                </p:cNvPr>
                <p:cNvSpPr/>
                <p:nvPr/>
              </p:nvSpPr>
              <p:spPr>
                <a:xfrm rot="4723471">
                  <a:off x="171149" y="2369732"/>
                  <a:ext cx="2931847" cy="3046258"/>
                </a:xfrm>
                <a:prstGeom prst="arc">
                  <a:avLst>
                    <a:gd name="adj1" fmla="val 7112477"/>
                    <a:gd name="adj2" fmla="val 10220081"/>
                  </a:avLst>
                </a:prstGeom>
                <a:noFill/>
                <a:ln>
                  <a:solidFill>
                    <a:schemeClr val="tx1"/>
                  </a:solidFill>
                </a:ln>
              </p:spPr>
              <p:style>
                <a:lnRef idx="1">
                  <a:schemeClr val="accent2"/>
                </a:lnRef>
                <a:fillRef idx="0">
                  <a:schemeClr val="accent2"/>
                </a:fillRef>
                <a:effectRef idx="0">
                  <a:schemeClr val="accent2"/>
                </a:effectRef>
                <a:fontRef idx="minor">
                  <a:schemeClr val="tx1"/>
                </a:fontRef>
              </p:style>
              <p:txBody>
                <a:bodyPr rtlCol="0" anchor="ctr"/>
                <a:lstStyle/>
                <a:p>
                  <a:pPr marL="0" marR="0" lvl="0" indent="0" algn="ctr" defTabSz="914400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200" b="0" i="0" u="none" strike="noStrike" kern="1200" cap="none" spc="0" normalizeH="0" baseline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ea typeface="+mn-ea"/>
                    <a:cs typeface="+mn-cs"/>
                  </a:endParaRPr>
                </a:p>
              </p:txBody>
            </p:sp>
            <p:sp>
              <p:nvSpPr>
                <p:cNvPr id="38" name="Oval 37">
                  <a:extLst>
                    <a:ext uri="{FF2B5EF4-FFF2-40B4-BE49-F238E27FC236}">
                      <a16:creationId xmlns:a16="http://schemas.microsoft.com/office/drawing/2014/main" id="{04D8C6D8-1CBA-DC3A-BC49-E42B7210FCAD}"/>
                    </a:ext>
                  </a:extLst>
                </p:cNvPr>
                <p:cNvSpPr/>
                <p:nvPr/>
              </p:nvSpPr>
              <p:spPr bwMode="gray">
                <a:xfrm>
                  <a:off x="-9903" y="2147570"/>
                  <a:ext cx="3425995" cy="3425995"/>
                </a:xfrm>
                <a:prstGeom prst="ellipse">
                  <a:avLst/>
                </a:prstGeom>
                <a:noFill/>
                <a:ln w="19050" algn="ctr">
                  <a:noFill/>
                  <a:miter lim="800000"/>
                  <a:headEnd/>
                  <a:tailEnd/>
                </a:ln>
              </p:spPr>
              <p:txBody>
                <a:bodyPr wrap="square" lIns="88900" tIns="88900" rIns="88900" bIns="88900" rtlCol="0" anchor="ctr"/>
                <a:lstStyle/>
                <a:p>
                  <a:pPr marL="0" marR="0" lvl="0" indent="0" algn="ctr" defTabSz="914400" fontAlgn="auto" latinLnBrk="0" hangingPunct="1">
                    <a:lnSpc>
                      <a:spcPct val="106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 typeface="Wingdings 2" pitchFamily="18" charset="2"/>
                    <a:buNone/>
                    <a:tabLst/>
                    <a:defRPr/>
                  </a:pPr>
                  <a:endParaRPr kumimoji="0" lang="en-US" sz="1100" b="1" i="0" u="none" strike="noStrike" kern="1200" cap="none" spc="0" normalizeH="0" baseline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ea typeface="+mn-ea"/>
                    <a:cs typeface="+mn-cs"/>
                  </a:endParaRPr>
                </a:p>
              </p:txBody>
            </p:sp>
            <p:sp>
              <p:nvSpPr>
                <p:cNvPr id="39" name="Arc 38">
                  <a:extLst>
                    <a:ext uri="{FF2B5EF4-FFF2-40B4-BE49-F238E27FC236}">
                      <a16:creationId xmlns:a16="http://schemas.microsoft.com/office/drawing/2014/main" id="{A0D7D598-6423-0469-1DF1-D1B267DCE4C3}"/>
                    </a:ext>
                  </a:extLst>
                </p:cNvPr>
                <p:cNvSpPr/>
                <p:nvPr/>
              </p:nvSpPr>
              <p:spPr>
                <a:xfrm>
                  <a:off x="307055" y="2622843"/>
                  <a:ext cx="2648919" cy="2549431"/>
                </a:xfrm>
                <a:prstGeom prst="arc">
                  <a:avLst>
                    <a:gd name="adj1" fmla="val 1707404"/>
                    <a:gd name="adj2" fmla="val 4687859"/>
                  </a:avLst>
                </a:prstGeom>
                <a:noFill/>
                <a:ln>
                  <a:solidFill>
                    <a:schemeClr val="tx1"/>
                  </a:solidFill>
                </a:ln>
              </p:spPr>
              <p:style>
                <a:lnRef idx="1">
                  <a:schemeClr val="accent2"/>
                </a:lnRef>
                <a:fillRef idx="0">
                  <a:schemeClr val="accent2"/>
                </a:fillRef>
                <a:effectRef idx="0">
                  <a:schemeClr val="accent2"/>
                </a:effectRef>
                <a:fontRef idx="minor">
                  <a:schemeClr val="tx1"/>
                </a:fontRef>
              </p:style>
              <p:txBody>
                <a:bodyPr rtlCol="0" anchor="ctr"/>
                <a:lstStyle/>
                <a:p>
                  <a:pPr marL="0" marR="0" lvl="0" indent="0" algn="ctr" defTabSz="914400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200" b="0" i="0" u="none" strike="noStrike" kern="1200" cap="none" spc="0" normalizeH="0" baseline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ea typeface="+mn-ea"/>
                    <a:cs typeface="+mn-cs"/>
                  </a:endParaRPr>
                </a:p>
              </p:txBody>
            </p:sp>
            <p:sp>
              <p:nvSpPr>
                <p:cNvPr id="40" name="Arc 39">
                  <a:extLst>
                    <a:ext uri="{FF2B5EF4-FFF2-40B4-BE49-F238E27FC236}">
                      <a16:creationId xmlns:a16="http://schemas.microsoft.com/office/drawing/2014/main" id="{704108FA-5EFC-6FA0-E34A-65C684803BB3}"/>
                    </a:ext>
                  </a:extLst>
                </p:cNvPr>
                <p:cNvSpPr/>
                <p:nvPr/>
              </p:nvSpPr>
              <p:spPr>
                <a:xfrm>
                  <a:off x="346007" y="2622843"/>
                  <a:ext cx="2571015" cy="2549431"/>
                </a:xfrm>
                <a:prstGeom prst="arc">
                  <a:avLst>
                    <a:gd name="adj1" fmla="val 17769304"/>
                    <a:gd name="adj2" fmla="val 76382"/>
                  </a:avLst>
                </a:prstGeom>
                <a:noFill/>
                <a:ln>
                  <a:solidFill>
                    <a:schemeClr val="tx1"/>
                  </a:solidFill>
                </a:ln>
              </p:spPr>
              <p:style>
                <a:lnRef idx="1">
                  <a:schemeClr val="accent2"/>
                </a:lnRef>
                <a:fillRef idx="0">
                  <a:schemeClr val="accent2"/>
                </a:fillRef>
                <a:effectRef idx="0">
                  <a:schemeClr val="accent2"/>
                </a:effectRef>
                <a:fontRef idx="minor">
                  <a:schemeClr val="tx1"/>
                </a:fontRef>
              </p:style>
              <p:txBody>
                <a:bodyPr rtlCol="0" anchor="ctr"/>
                <a:lstStyle/>
                <a:p>
                  <a:pPr marL="0" marR="0" lvl="0" indent="0" algn="ctr" defTabSz="914400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200" b="0" i="0" u="none" strike="noStrike" kern="1200" cap="none" spc="0" normalizeH="0" baseline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ea typeface="+mn-ea"/>
                    <a:cs typeface="+mn-cs"/>
                  </a:endParaRPr>
                </a:p>
              </p:txBody>
            </p:sp>
            <p:sp>
              <p:nvSpPr>
                <p:cNvPr id="41" name="Arc 40">
                  <a:extLst>
                    <a:ext uri="{FF2B5EF4-FFF2-40B4-BE49-F238E27FC236}">
                      <a16:creationId xmlns:a16="http://schemas.microsoft.com/office/drawing/2014/main" id="{7DA87EEB-6003-448B-16A7-9688FC4A6BFE}"/>
                    </a:ext>
                  </a:extLst>
                </p:cNvPr>
                <p:cNvSpPr/>
                <p:nvPr/>
              </p:nvSpPr>
              <p:spPr>
                <a:xfrm>
                  <a:off x="307055" y="2622843"/>
                  <a:ext cx="2648919" cy="2549431"/>
                </a:xfrm>
                <a:prstGeom prst="arc">
                  <a:avLst>
                    <a:gd name="adj1" fmla="val 7112477"/>
                    <a:gd name="adj2" fmla="val 10220081"/>
                  </a:avLst>
                </a:prstGeom>
                <a:noFill/>
                <a:ln>
                  <a:solidFill>
                    <a:schemeClr val="tx1"/>
                  </a:solidFill>
                </a:ln>
              </p:spPr>
              <p:style>
                <a:lnRef idx="1">
                  <a:schemeClr val="accent2"/>
                </a:lnRef>
                <a:fillRef idx="0">
                  <a:schemeClr val="accent2"/>
                </a:fillRef>
                <a:effectRef idx="0">
                  <a:schemeClr val="accent2"/>
                </a:effectRef>
                <a:fontRef idx="minor">
                  <a:schemeClr val="tx1"/>
                </a:fontRef>
              </p:style>
              <p:txBody>
                <a:bodyPr rtlCol="0" anchor="ctr"/>
                <a:lstStyle/>
                <a:p>
                  <a:pPr marL="0" marR="0" lvl="0" indent="0" algn="ctr" defTabSz="914400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200" b="0" i="0" u="none" strike="noStrike" kern="1200" cap="none" spc="0" normalizeH="0" baseline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ea typeface="+mn-ea"/>
                    <a:cs typeface="+mn-cs"/>
                  </a:endParaRPr>
                </a:p>
              </p:txBody>
            </p:sp>
            <p:sp>
              <p:nvSpPr>
                <p:cNvPr id="42" name="Arc 41">
                  <a:extLst>
                    <a:ext uri="{FF2B5EF4-FFF2-40B4-BE49-F238E27FC236}">
                      <a16:creationId xmlns:a16="http://schemas.microsoft.com/office/drawing/2014/main" id="{D24D883B-B46D-D2A6-B0E9-1134261630B6}"/>
                    </a:ext>
                  </a:extLst>
                </p:cNvPr>
                <p:cNvSpPr/>
                <p:nvPr/>
              </p:nvSpPr>
              <p:spPr>
                <a:xfrm rot="21284122">
                  <a:off x="376440" y="2639316"/>
                  <a:ext cx="2648919" cy="2549431"/>
                </a:xfrm>
                <a:prstGeom prst="arc">
                  <a:avLst>
                    <a:gd name="adj1" fmla="val 11595021"/>
                    <a:gd name="adj2" fmla="val 15315503"/>
                  </a:avLst>
                </a:prstGeom>
                <a:noFill/>
                <a:ln>
                  <a:solidFill>
                    <a:schemeClr val="tx1"/>
                  </a:solidFill>
                </a:ln>
              </p:spPr>
              <p:style>
                <a:lnRef idx="1">
                  <a:schemeClr val="accent2"/>
                </a:lnRef>
                <a:fillRef idx="0">
                  <a:schemeClr val="accent2"/>
                </a:fillRef>
                <a:effectRef idx="0">
                  <a:schemeClr val="accent2"/>
                </a:effectRef>
                <a:fontRef idx="minor">
                  <a:schemeClr val="tx1"/>
                </a:fontRef>
              </p:style>
              <p:txBody>
                <a:bodyPr rtlCol="0" anchor="ctr"/>
                <a:lstStyle/>
                <a:p>
                  <a:pPr marL="0" marR="0" lvl="0" indent="0" algn="ctr" defTabSz="914400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200" b="0" i="0" u="none" strike="noStrike" kern="1200" cap="none" spc="0" normalizeH="0" baseline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ea typeface="+mn-ea"/>
                    <a:cs typeface="+mn-cs"/>
                  </a:endParaRPr>
                </a:p>
              </p:txBody>
            </p:sp>
            <p:sp>
              <p:nvSpPr>
                <p:cNvPr id="43" name="Oval 42">
                  <a:extLst>
                    <a:ext uri="{FF2B5EF4-FFF2-40B4-BE49-F238E27FC236}">
                      <a16:creationId xmlns:a16="http://schemas.microsoft.com/office/drawing/2014/main" id="{23FE5820-C8A2-EFD4-CFD2-57C09E82D3F5}"/>
                    </a:ext>
                  </a:extLst>
                </p:cNvPr>
                <p:cNvSpPr/>
                <p:nvPr/>
              </p:nvSpPr>
              <p:spPr bwMode="auto">
                <a:xfrm>
                  <a:off x="504502" y="2780436"/>
                  <a:ext cx="2250495" cy="2244487"/>
                </a:xfrm>
                <a:prstGeom prst="ellipse">
                  <a:avLst/>
                </a:prstGeom>
                <a:solidFill>
                  <a:schemeClr val="bg1"/>
                </a:solidFill>
                <a:ln w="6350">
                  <a:solidFill>
                    <a:schemeClr val="tx1"/>
                  </a:solidFill>
                  <a:prstDash val="solid"/>
                  <a:headEnd/>
                  <a:tailEnd/>
                </a:ln>
              </p:spPr>
              <p:style>
                <a:lnRef idx="2">
                  <a:schemeClr val="accent1"/>
                </a:lnRef>
                <a:fillRef idx="1">
                  <a:schemeClr val="lt1"/>
                </a:fillRef>
                <a:effectRef idx="0">
                  <a:schemeClr val="accent1"/>
                </a:effectRef>
                <a:fontRef idx="minor">
                  <a:schemeClr val="dk1"/>
                </a:fontRef>
              </p:style>
              <p:txBody>
                <a:bodyPr lIns="0" rIns="0" rtlCol="0" anchor="ctr">
                  <a:noAutofit/>
                </a:bodyPr>
                <a:lstStyle/>
                <a:p>
                  <a:pPr lvl="0" algn="ctr" defTabSz="892941">
                    <a:defRPr/>
                  </a:pPr>
                  <a:endParaRPr kumimoji="0" lang="en-US" sz="1050" b="0" i="0" u="none" strike="noStrike" kern="0" cap="none" spc="0" normalizeH="0" baseline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ea typeface="Verdana" panose="020B0604030504040204" pitchFamily="34" charset="0"/>
                    <a:cs typeface="Verdana" panose="020B0604030504040204" pitchFamily="34" charset="0"/>
                  </a:endParaRPr>
                </a:p>
              </p:txBody>
            </p:sp>
          </p:grpSp>
        </p:grpSp>
        <p:pic>
          <p:nvPicPr>
            <p:cNvPr id="29" name="Immagine 61">
              <a:extLst>
                <a:ext uri="{FF2B5EF4-FFF2-40B4-BE49-F238E27FC236}">
                  <a16:creationId xmlns:a16="http://schemas.microsoft.com/office/drawing/2014/main" id="{15C1E31E-6888-8F59-BC48-A415A1EB33E6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535810" y="3076142"/>
              <a:ext cx="925132" cy="925132"/>
            </a:xfrm>
            <a:prstGeom prst="rect">
              <a:avLst/>
            </a:prstGeom>
          </p:spPr>
        </p:pic>
      </p:grpSp>
      <p:sp>
        <p:nvSpPr>
          <p:cNvPr id="44" name="Freeform 176">
            <a:extLst>
              <a:ext uri="{FF2B5EF4-FFF2-40B4-BE49-F238E27FC236}">
                <a16:creationId xmlns:a16="http://schemas.microsoft.com/office/drawing/2014/main" id="{1917BF08-1529-050F-C36B-98394974AABC}"/>
              </a:ext>
            </a:extLst>
          </p:cNvPr>
          <p:cNvSpPr>
            <a:spLocks noChangeAspect="1"/>
          </p:cNvSpPr>
          <p:nvPr/>
        </p:nvSpPr>
        <p:spPr bwMode="auto">
          <a:xfrm>
            <a:off x="2909326" y="1584681"/>
            <a:ext cx="395527" cy="399890"/>
          </a:xfrm>
          <a:custGeom>
            <a:avLst/>
            <a:gdLst>
              <a:gd name="T0" fmla="*/ 204 w 272"/>
              <a:gd name="T1" fmla="*/ 159 h 275"/>
              <a:gd name="T2" fmla="*/ 190 w 272"/>
              <a:gd name="T3" fmla="*/ 135 h 275"/>
              <a:gd name="T4" fmla="*/ 147 w 272"/>
              <a:gd name="T5" fmla="*/ 80 h 275"/>
              <a:gd name="T6" fmla="*/ 73 w 272"/>
              <a:gd name="T7" fmla="*/ 28 h 275"/>
              <a:gd name="T8" fmla="*/ 28 w 272"/>
              <a:gd name="T9" fmla="*/ 11 h 275"/>
              <a:gd name="T10" fmla="*/ 3 w 272"/>
              <a:gd name="T11" fmla="*/ 8 h 275"/>
              <a:gd name="T12" fmla="*/ 1 w 272"/>
              <a:gd name="T13" fmla="*/ 3 h 275"/>
              <a:gd name="T14" fmla="*/ 10 w 272"/>
              <a:gd name="T15" fmla="*/ 0 h 275"/>
              <a:gd name="T16" fmla="*/ 52 w 272"/>
              <a:gd name="T17" fmla="*/ 9 h 275"/>
              <a:gd name="T18" fmla="*/ 113 w 272"/>
              <a:gd name="T19" fmla="*/ 39 h 275"/>
              <a:gd name="T20" fmla="*/ 168 w 272"/>
              <a:gd name="T21" fmla="*/ 86 h 275"/>
              <a:gd name="T22" fmla="*/ 194 w 272"/>
              <a:gd name="T23" fmla="*/ 118 h 275"/>
              <a:gd name="T24" fmla="*/ 209 w 272"/>
              <a:gd name="T25" fmla="*/ 141 h 275"/>
              <a:gd name="T26" fmla="*/ 240 w 272"/>
              <a:gd name="T27" fmla="*/ 205 h 275"/>
              <a:gd name="T28" fmla="*/ 248 w 272"/>
              <a:gd name="T29" fmla="*/ 224 h 275"/>
              <a:gd name="T30" fmla="*/ 249 w 272"/>
              <a:gd name="T31" fmla="*/ 224 h 275"/>
              <a:gd name="T32" fmla="*/ 251 w 272"/>
              <a:gd name="T33" fmla="*/ 213 h 275"/>
              <a:gd name="T34" fmla="*/ 253 w 272"/>
              <a:gd name="T35" fmla="*/ 200 h 275"/>
              <a:gd name="T36" fmla="*/ 259 w 272"/>
              <a:gd name="T37" fmla="*/ 176 h 275"/>
              <a:gd name="T38" fmla="*/ 264 w 272"/>
              <a:gd name="T39" fmla="*/ 160 h 275"/>
              <a:gd name="T40" fmla="*/ 270 w 272"/>
              <a:gd name="T41" fmla="*/ 159 h 275"/>
              <a:gd name="T42" fmla="*/ 272 w 272"/>
              <a:gd name="T43" fmla="*/ 167 h 275"/>
              <a:gd name="T44" fmla="*/ 267 w 272"/>
              <a:gd name="T45" fmla="*/ 199 h 275"/>
              <a:gd name="T46" fmla="*/ 261 w 272"/>
              <a:gd name="T47" fmla="*/ 249 h 275"/>
              <a:gd name="T48" fmla="*/ 259 w 272"/>
              <a:gd name="T49" fmla="*/ 271 h 275"/>
              <a:gd name="T50" fmla="*/ 246 w 272"/>
              <a:gd name="T51" fmla="*/ 273 h 275"/>
              <a:gd name="T52" fmla="*/ 242 w 272"/>
              <a:gd name="T53" fmla="*/ 267 h 275"/>
              <a:gd name="T54" fmla="*/ 210 w 272"/>
              <a:gd name="T55" fmla="*/ 235 h 275"/>
              <a:gd name="T56" fmla="*/ 171 w 272"/>
              <a:gd name="T57" fmla="*/ 201 h 275"/>
              <a:gd name="T58" fmla="*/ 168 w 272"/>
              <a:gd name="T59" fmla="*/ 199 h 275"/>
              <a:gd name="T60" fmla="*/ 176 w 272"/>
              <a:gd name="T61" fmla="*/ 193 h 275"/>
              <a:gd name="T62" fmla="*/ 205 w 272"/>
              <a:gd name="T63" fmla="*/ 214 h 275"/>
              <a:gd name="T64" fmla="*/ 234 w 272"/>
              <a:gd name="T65" fmla="*/ 243 h 275"/>
              <a:gd name="T66" fmla="*/ 236 w 272"/>
              <a:gd name="T67" fmla="*/ 241 h 275"/>
              <a:gd name="T68" fmla="*/ 229 w 272"/>
              <a:gd name="T69" fmla="*/ 217 h 275"/>
              <a:gd name="T70" fmla="*/ 217 w 272"/>
              <a:gd name="T71" fmla="*/ 183 h 27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</a:cxnLst>
            <a:rect l="0" t="0" r="r" b="b"/>
            <a:pathLst>
              <a:path w="272" h="275">
                <a:moveTo>
                  <a:pt x="217" y="183"/>
                </a:moveTo>
                <a:cubicBezTo>
                  <a:pt x="213" y="175"/>
                  <a:pt x="208" y="167"/>
                  <a:pt x="204" y="159"/>
                </a:cubicBezTo>
                <a:cubicBezTo>
                  <a:pt x="202" y="155"/>
                  <a:pt x="199" y="151"/>
                  <a:pt x="197" y="146"/>
                </a:cubicBezTo>
                <a:cubicBezTo>
                  <a:pt x="195" y="143"/>
                  <a:pt x="193" y="139"/>
                  <a:pt x="190" y="135"/>
                </a:cubicBezTo>
                <a:cubicBezTo>
                  <a:pt x="185" y="127"/>
                  <a:pt x="180" y="120"/>
                  <a:pt x="175" y="113"/>
                </a:cubicBezTo>
                <a:cubicBezTo>
                  <a:pt x="166" y="101"/>
                  <a:pt x="157" y="90"/>
                  <a:pt x="147" y="80"/>
                </a:cubicBezTo>
                <a:cubicBezTo>
                  <a:pt x="136" y="69"/>
                  <a:pt x="124" y="59"/>
                  <a:pt x="112" y="50"/>
                </a:cubicBezTo>
                <a:cubicBezTo>
                  <a:pt x="99" y="42"/>
                  <a:pt x="87" y="34"/>
                  <a:pt x="73" y="28"/>
                </a:cubicBezTo>
                <a:cubicBezTo>
                  <a:pt x="63" y="23"/>
                  <a:pt x="53" y="19"/>
                  <a:pt x="42" y="15"/>
                </a:cubicBezTo>
                <a:cubicBezTo>
                  <a:pt x="37" y="13"/>
                  <a:pt x="33" y="12"/>
                  <a:pt x="28" y="11"/>
                </a:cubicBezTo>
                <a:cubicBezTo>
                  <a:pt x="22" y="10"/>
                  <a:pt x="16" y="9"/>
                  <a:pt x="10" y="9"/>
                </a:cubicBezTo>
                <a:cubicBezTo>
                  <a:pt x="7" y="10"/>
                  <a:pt x="5" y="9"/>
                  <a:pt x="3" y="8"/>
                </a:cubicBezTo>
                <a:cubicBezTo>
                  <a:pt x="2" y="8"/>
                  <a:pt x="2" y="7"/>
                  <a:pt x="1" y="7"/>
                </a:cubicBezTo>
                <a:cubicBezTo>
                  <a:pt x="0" y="6"/>
                  <a:pt x="0" y="4"/>
                  <a:pt x="1" y="3"/>
                </a:cubicBezTo>
                <a:cubicBezTo>
                  <a:pt x="2" y="1"/>
                  <a:pt x="4" y="0"/>
                  <a:pt x="6" y="0"/>
                </a:cubicBezTo>
                <a:cubicBezTo>
                  <a:pt x="7" y="0"/>
                  <a:pt x="8" y="0"/>
                  <a:pt x="10" y="0"/>
                </a:cubicBezTo>
                <a:cubicBezTo>
                  <a:pt x="15" y="0"/>
                  <a:pt x="19" y="1"/>
                  <a:pt x="24" y="2"/>
                </a:cubicBezTo>
                <a:cubicBezTo>
                  <a:pt x="34" y="3"/>
                  <a:pt x="43" y="6"/>
                  <a:pt x="52" y="9"/>
                </a:cubicBezTo>
                <a:cubicBezTo>
                  <a:pt x="66" y="14"/>
                  <a:pt x="80" y="21"/>
                  <a:pt x="94" y="28"/>
                </a:cubicBezTo>
                <a:cubicBezTo>
                  <a:pt x="101" y="31"/>
                  <a:pt x="107" y="35"/>
                  <a:pt x="113" y="39"/>
                </a:cubicBezTo>
                <a:cubicBezTo>
                  <a:pt x="125" y="46"/>
                  <a:pt x="136" y="55"/>
                  <a:pt x="147" y="64"/>
                </a:cubicBezTo>
                <a:cubicBezTo>
                  <a:pt x="154" y="71"/>
                  <a:pt x="162" y="78"/>
                  <a:pt x="168" y="86"/>
                </a:cubicBezTo>
                <a:cubicBezTo>
                  <a:pt x="174" y="92"/>
                  <a:pt x="180" y="100"/>
                  <a:pt x="185" y="107"/>
                </a:cubicBezTo>
                <a:cubicBezTo>
                  <a:pt x="188" y="110"/>
                  <a:pt x="191" y="114"/>
                  <a:pt x="194" y="118"/>
                </a:cubicBezTo>
                <a:cubicBezTo>
                  <a:pt x="197" y="122"/>
                  <a:pt x="199" y="125"/>
                  <a:pt x="202" y="129"/>
                </a:cubicBezTo>
                <a:cubicBezTo>
                  <a:pt x="205" y="133"/>
                  <a:pt x="207" y="137"/>
                  <a:pt x="209" y="141"/>
                </a:cubicBezTo>
                <a:cubicBezTo>
                  <a:pt x="215" y="151"/>
                  <a:pt x="221" y="160"/>
                  <a:pt x="225" y="170"/>
                </a:cubicBezTo>
                <a:cubicBezTo>
                  <a:pt x="231" y="181"/>
                  <a:pt x="236" y="193"/>
                  <a:pt x="240" y="205"/>
                </a:cubicBezTo>
                <a:cubicBezTo>
                  <a:pt x="243" y="211"/>
                  <a:pt x="244" y="217"/>
                  <a:pt x="246" y="222"/>
                </a:cubicBezTo>
                <a:cubicBezTo>
                  <a:pt x="247" y="223"/>
                  <a:pt x="247" y="224"/>
                  <a:pt x="248" y="224"/>
                </a:cubicBezTo>
                <a:cubicBezTo>
                  <a:pt x="248" y="224"/>
                  <a:pt x="248" y="224"/>
                  <a:pt x="248" y="224"/>
                </a:cubicBezTo>
                <a:cubicBezTo>
                  <a:pt x="249" y="224"/>
                  <a:pt x="249" y="224"/>
                  <a:pt x="249" y="224"/>
                </a:cubicBezTo>
                <a:cubicBezTo>
                  <a:pt x="249" y="223"/>
                  <a:pt x="250" y="223"/>
                  <a:pt x="250" y="222"/>
                </a:cubicBezTo>
                <a:cubicBezTo>
                  <a:pt x="250" y="219"/>
                  <a:pt x="251" y="216"/>
                  <a:pt x="251" y="213"/>
                </a:cubicBezTo>
                <a:cubicBezTo>
                  <a:pt x="251" y="209"/>
                  <a:pt x="252" y="205"/>
                  <a:pt x="253" y="202"/>
                </a:cubicBezTo>
                <a:cubicBezTo>
                  <a:pt x="253" y="201"/>
                  <a:pt x="253" y="200"/>
                  <a:pt x="253" y="200"/>
                </a:cubicBezTo>
                <a:cubicBezTo>
                  <a:pt x="255" y="194"/>
                  <a:pt x="255" y="191"/>
                  <a:pt x="256" y="186"/>
                </a:cubicBezTo>
                <a:cubicBezTo>
                  <a:pt x="257" y="183"/>
                  <a:pt x="257" y="181"/>
                  <a:pt x="259" y="176"/>
                </a:cubicBezTo>
                <a:cubicBezTo>
                  <a:pt x="260" y="172"/>
                  <a:pt x="261" y="170"/>
                  <a:pt x="262" y="166"/>
                </a:cubicBezTo>
                <a:cubicBezTo>
                  <a:pt x="262" y="164"/>
                  <a:pt x="263" y="162"/>
                  <a:pt x="264" y="160"/>
                </a:cubicBezTo>
                <a:cubicBezTo>
                  <a:pt x="264" y="159"/>
                  <a:pt x="266" y="158"/>
                  <a:pt x="267" y="158"/>
                </a:cubicBezTo>
                <a:cubicBezTo>
                  <a:pt x="268" y="157"/>
                  <a:pt x="270" y="158"/>
                  <a:pt x="270" y="159"/>
                </a:cubicBezTo>
                <a:cubicBezTo>
                  <a:pt x="271" y="161"/>
                  <a:pt x="272" y="162"/>
                  <a:pt x="272" y="164"/>
                </a:cubicBezTo>
                <a:cubicBezTo>
                  <a:pt x="272" y="165"/>
                  <a:pt x="272" y="166"/>
                  <a:pt x="272" y="167"/>
                </a:cubicBezTo>
                <a:cubicBezTo>
                  <a:pt x="272" y="172"/>
                  <a:pt x="271" y="176"/>
                  <a:pt x="270" y="180"/>
                </a:cubicBezTo>
                <a:cubicBezTo>
                  <a:pt x="269" y="186"/>
                  <a:pt x="268" y="192"/>
                  <a:pt x="267" y="199"/>
                </a:cubicBezTo>
                <a:cubicBezTo>
                  <a:pt x="266" y="204"/>
                  <a:pt x="265" y="209"/>
                  <a:pt x="265" y="215"/>
                </a:cubicBezTo>
                <a:cubicBezTo>
                  <a:pt x="264" y="226"/>
                  <a:pt x="263" y="237"/>
                  <a:pt x="261" y="249"/>
                </a:cubicBezTo>
                <a:cubicBezTo>
                  <a:pt x="261" y="254"/>
                  <a:pt x="260" y="260"/>
                  <a:pt x="260" y="265"/>
                </a:cubicBezTo>
                <a:cubicBezTo>
                  <a:pt x="260" y="267"/>
                  <a:pt x="260" y="269"/>
                  <a:pt x="259" y="271"/>
                </a:cubicBezTo>
                <a:cubicBezTo>
                  <a:pt x="258" y="273"/>
                  <a:pt x="256" y="275"/>
                  <a:pt x="254" y="275"/>
                </a:cubicBezTo>
                <a:cubicBezTo>
                  <a:pt x="251" y="275"/>
                  <a:pt x="249" y="275"/>
                  <a:pt x="246" y="273"/>
                </a:cubicBezTo>
                <a:cubicBezTo>
                  <a:pt x="245" y="272"/>
                  <a:pt x="244" y="271"/>
                  <a:pt x="243" y="269"/>
                </a:cubicBezTo>
                <a:cubicBezTo>
                  <a:pt x="243" y="268"/>
                  <a:pt x="242" y="267"/>
                  <a:pt x="242" y="267"/>
                </a:cubicBezTo>
                <a:cubicBezTo>
                  <a:pt x="234" y="259"/>
                  <a:pt x="226" y="252"/>
                  <a:pt x="219" y="244"/>
                </a:cubicBezTo>
                <a:cubicBezTo>
                  <a:pt x="216" y="241"/>
                  <a:pt x="213" y="239"/>
                  <a:pt x="210" y="235"/>
                </a:cubicBezTo>
                <a:cubicBezTo>
                  <a:pt x="203" y="228"/>
                  <a:pt x="195" y="220"/>
                  <a:pt x="187" y="213"/>
                </a:cubicBezTo>
                <a:cubicBezTo>
                  <a:pt x="182" y="209"/>
                  <a:pt x="177" y="204"/>
                  <a:pt x="171" y="201"/>
                </a:cubicBezTo>
                <a:cubicBezTo>
                  <a:pt x="170" y="201"/>
                  <a:pt x="169" y="201"/>
                  <a:pt x="169" y="200"/>
                </a:cubicBezTo>
                <a:cubicBezTo>
                  <a:pt x="169" y="200"/>
                  <a:pt x="169" y="200"/>
                  <a:pt x="168" y="199"/>
                </a:cubicBezTo>
                <a:cubicBezTo>
                  <a:pt x="167" y="198"/>
                  <a:pt x="167" y="195"/>
                  <a:pt x="169" y="194"/>
                </a:cubicBezTo>
                <a:cubicBezTo>
                  <a:pt x="171" y="192"/>
                  <a:pt x="174" y="192"/>
                  <a:pt x="176" y="193"/>
                </a:cubicBezTo>
                <a:cubicBezTo>
                  <a:pt x="180" y="194"/>
                  <a:pt x="184" y="196"/>
                  <a:pt x="187" y="199"/>
                </a:cubicBezTo>
                <a:cubicBezTo>
                  <a:pt x="193" y="204"/>
                  <a:pt x="199" y="209"/>
                  <a:pt x="205" y="214"/>
                </a:cubicBezTo>
                <a:cubicBezTo>
                  <a:pt x="212" y="221"/>
                  <a:pt x="219" y="228"/>
                  <a:pt x="225" y="235"/>
                </a:cubicBezTo>
                <a:cubicBezTo>
                  <a:pt x="228" y="238"/>
                  <a:pt x="231" y="240"/>
                  <a:pt x="234" y="243"/>
                </a:cubicBezTo>
                <a:cubicBezTo>
                  <a:pt x="234" y="243"/>
                  <a:pt x="235" y="243"/>
                  <a:pt x="236" y="243"/>
                </a:cubicBezTo>
                <a:cubicBezTo>
                  <a:pt x="236" y="242"/>
                  <a:pt x="236" y="242"/>
                  <a:pt x="236" y="241"/>
                </a:cubicBezTo>
                <a:cubicBezTo>
                  <a:pt x="235" y="235"/>
                  <a:pt x="233" y="228"/>
                  <a:pt x="231" y="222"/>
                </a:cubicBezTo>
                <a:cubicBezTo>
                  <a:pt x="230" y="221"/>
                  <a:pt x="230" y="219"/>
                  <a:pt x="229" y="217"/>
                </a:cubicBezTo>
                <a:cubicBezTo>
                  <a:pt x="229" y="216"/>
                  <a:pt x="228" y="214"/>
                  <a:pt x="228" y="212"/>
                </a:cubicBezTo>
                <a:cubicBezTo>
                  <a:pt x="224" y="203"/>
                  <a:pt x="221" y="193"/>
                  <a:pt x="217" y="183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1200" cap="none" spc="0" normalizeH="0" baseline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45" name="Freeform 176">
            <a:extLst>
              <a:ext uri="{FF2B5EF4-FFF2-40B4-BE49-F238E27FC236}">
                <a16:creationId xmlns:a16="http://schemas.microsoft.com/office/drawing/2014/main" id="{A28A60EC-D235-4DAD-5503-6161815E6E9D}"/>
              </a:ext>
            </a:extLst>
          </p:cNvPr>
          <p:cNvSpPr>
            <a:spLocks noChangeAspect="1"/>
          </p:cNvSpPr>
          <p:nvPr/>
        </p:nvSpPr>
        <p:spPr bwMode="auto">
          <a:xfrm flipH="1">
            <a:off x="407476" y="3164520"/>
            <a:ext cx="395527" cy="399890"/>
          </a:xfrm>
          <a:custGeom>
            <a:avLst/>
            <a:gdLst>
              <a:gd name="T0" fmla="*/ 204 w 272"/>
              <a:gd name="T1" fmla="*/ 159 h 275"/>
              <a:gd name="T2" fmla="*/ 190 w 272"/>
              <a:gd name="T3" fmla="*/ 135 h 275"/>
              <a:gd name="T4" fmla="*/ 147 w 272"/>
              <a:gd name="T5" fmla="*/ 80 h 275"/>
              <a:gd name="T6" fmla="*/ 73 w 272"/>
              <a:gd name="T7" fmla="*/ 28 h 275"/>
              <a:gd name="T8" fmla="*/ 28 w 272"/>
              <a:gd name="T9" fmla="*/ 11 h 275"/>
              <a:gd name="T10" fmla="*/ 3 w 272"/>
              <a:gd name="T11" fmla="*/ 8 h 275"/>
              <a:gd name="T12" fmla="*/ 1 w 272"/>
              <a:gd name="T13" fmla="*/ 3 h 275"/>
              <a:gd name="T14" fmla="*/ 10 w 272"/>
              <a:gd name="T15" fmla="*/ 0 h 275"/>
              <a:gd name="T16" fmla="*/ 52 w 272"/>
              <a:gd name="T17" fmla="*/ 9 h 275"/>
              <a:gd name="T18" fmla="*/ 113 w 272"/>
              <a:gd name="T19" fmla="*/ 39 h 275"/>
              <a:gd name="T20" fmla="*/ 168 w 272"/>
              <a:gd name="T21" fmla="*/ 86 h 275"/>
              <a:gd name="T22" fmla="*/ 194 w 272"/>
              <a:gd name="T23" fmla="*/ 118 h 275"/>
              <a:gd name="T24" fmla="*/ 209 w 272"/>
              <a:gd name="T25" fmla="*/ 141 h 275"/>
              <a:gd name="T26" fmla="*/ 240 w 272"/>
              <a:gd name="T27" fmla="*/ 205 h 275"/>
              <a:gd name="T28" fmla="*/ 248 w 272"/>
              <a:gd name="T29" fmla="*/ 224 h 275"/>
              <a:gd name="T30" fmla="*/ 249 w 272"/>
              <a:gd name="T31" fmla="*/ 224 h 275"/>
              <a:gd name="T32" fmla="*/ 251 w 272"/>
              <a:gd name="T33" fmla="*/ 213 h 275"/>
              <a:gd name="T34" fmla="*/ 253 w 272"/>
              <a:gd name="T35" fmla="*/ 200 h 275"/>
              <a:gd name="T36" fmla="*/ 259 w 272"/>
              <a:gd name="T37" fmla="*/ 176 h 275"/>
              <a:gd name="T38" fmla="*/ 264 w 272"/>
              <a:gd name="T39" fmla="*/ 160 h 275"/>
              <a:gd name="T40" fmla="*/ 270 w 272"/>
              <a:gd name="T41" fmla="*/ 159 h 275"/>
              <a:gd name="T42" fmla="*/ 272 w 272"/>
              <a:gd name="T43" fmla="*/ 167 h 275"/>
              <a:gd name="T44" fmla="*/ 267 w 272"/>
              <a:gd name="T45" fmla="*/ 199 h 275"/>
              <a:gd name="T46" fmla="*/ 261 w 272"/>
              <a:gd name="T47" fmla="*/ 249 h 275"/>
              <a:gd name="T48" fmla="*/ 259 w 272"/>
              <a:gd name="T49" fmla="*/ 271 h 275"/>
              <a:gd name="T50" fmla="*/ 246 w 272"/>
              <a:gd name="T51" fmla="*/ 273 h 275"/>
              <a:gd name="T52" fmla="*/ 242 w 272"/>
              <a:gd name="T53" fmla="*/ 267 h 275"/>
              <a:gd name="T54" fmla="*/ 210 w 272"/>
              <a:gd name="T55" fmla="*/ 235 h 275"/>
              <a:gd name="T56" fmla="*/ 171 w 272"/>
              <a:gd name="T57" fmla="*/ 201 h 275"/>
              <a:gd name="T58" fmla="*/ 168 w 272"/>
              <a:gd name="T59" fmla="*/ 199 h 275"/>
              <a:gd name="T60" fmla="*/ 176 w 272"/>
              <a:gd name="T61" fmla="*/ 193 h 275"/>
              <a:gd name="T62" fmla="*/ 205 w 272"/>
              <a:gd name="T63" fmla="*/ 214 h 275"/>
              <a:gd name="T64" fmla="*/ 234 w 272"/>
              <a:gd name="T65" fmla="*/ 243 h 275"/>
              <a:gd name="T66" fmla="*/ 236 w 272"/>
              <a:gd name="T67" fmla="*/ 241 h 275"/>
              <a:gd name="T68" fmla="*/ 229 w 272"/>
              <a:gd name="T69" fmla="*/ 217 h 275"/>
              <a:gd name="T70" fmla="*/ 217 w 272"/>
              <a:gd name="T71" fmla="*/ 183 h 27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</a:cxnLst>
            <a:rect l="0" t="0" r="r" b="b"/>
            <a:pathLst>
              <a:path w="272" h="275">
                <a:moveTo>
                  <a:pt x="217" y="183"/>
                </a:moveTo>
                <a:cubicBezTo>
                  <a:pt x="213" y="175"/>
                  <a:pt x="208" y="167"/>
                  <a:pt x="204" y="159"/>
                </a:cubicBezTo>
                <a:cubicBezTo>
                  <a:pt x="202" y="155"/>
                  <a:pt x="199" y="151"/>
                  <a:pt x="197" y="146"/>
                </a:cubicBezTo>
                <a:cubicBezTo>
                  <a:pt x="195" y="143"/>
                  <a:pt x="193" y="139"/>
                  <a:pt x="190" y="135"/>
                </a:cubicBezTo>
                <a:cubicBezTo>
                  <a:pt x="185" y="127"/>
                  <a:pt x="180" y="120"/>
                  <a:pt x="175" y="113"/>
                </a:cubicBezTo>
                <a:cubicBezTo>
                  <a:pt x="166" y="101"/>
                  <a:pt x="157" y="90"/>
                  <a:pt x="147" y="80"/>
                </a:cubicBezTo>
                <a:cubicBezTo>
                  <a:pt x="136" y="69"/>
                  <a:pt x="124" y="59"/>
                  <a:pt x="112" y="50"/>
                </a:cubicBezTo>
                <a:cubicBezTo>
                  <a:pt x="99" y="42"/>
                  <a:pt x="87" y="34"/>
                  <a:pt x="73" y="28"/>
                </a:cubicBezTo>
                <a:cubicBezTo>
                  <a:pt x="63" y="23"/>
                  <a:pt x="53" y="19"/>
                  <a:pt x="42" y="15"/>
                </a:cubicBezTo>
                <a:cubicBezTo>
                  <a:pt x="37" y="13"/>
                  <a:pt x="33" y="12"/>
                  <a:pt x="28" y="11"/>
                </a:cubicBezTo>
                <a:cubicBezTo>
                  <a:pt x="22" y="10"/>
                  <a:pt x="16" y="9"/>
                  <a:pt x="10" y="9"/>
                </a:cubicBezTo>
                <a:cubicBezTo>
                  <a:pt x="7" y="10"/>
                  <a:pt x="5" y="9"/>
                  <a:pt x="3" y="8"/>
                </a:cubicBezTo>
                <a:cubicBezTo>
                  <a:pt x="2" y="8"/>
                  <a:pt x="2" y="7"/>
                  <a:pt x="1" y="7"/>
                </a:cubicBezTo>
                <a:cubicBezTo>
                  <a:pt x="0" y="6"/>
                  <a:pt x="0" y="4"/>
                  <a:pt x="1" y="3"/>
                </a:cubicBezTo>
                <a:cubicBezTo>
                  <a:pt x="2" y="1"/>
                  <a:pt x="4" y="0"/>
                  <a:pt x="6" y="0"/>
                </a:cubicBezTo>
                <a:cubicBezTo>
                  <a:pt x="7" y="0"/>
                  <a:pt x="8" y="0"/>
                  <a:pt x="10" y="0"/>
                </a:cubicBezTo>
                <a:cubicBezTo>
                  <a:pt x="15" y="0"/>
                  <a:pt x="19" y="1"/>
                  <a:pt x="24" y="2"/>
                </a:cubicBezTo>
                <a:cubicBezTo>
                  <a:pt x="34" y="3"/>
                  <a:pt x="43" y="6"/>
                  <a:pt x="52" y="9"/>
                </a:cubicBezTo>
                <a:cubicBezTo>
                  <a:pt x="66" y="14"/>
                  <a:pt x="80" y="21"/>
                  <a:pt x="94" y="28"/>
                </a:cubicBezTo>
                <a:cubicBezTo>
                  <a:pt x="101" y="31"/>
                  <a:pt x="107" y="35"/>
                  <a:pt x="113" y="39"/>
                </a:cubicBezTo>
                <a:cubicBezTo>
                  <a:pt x="125" y="46"/>
                  <a:pt x="136" y="55"/>
                  <a:pt x="147" y="64"/>
                </a:cubicBezTo>
                <a:cubicBezTo>
                  <a:pt x="154" y="71"/>
                  <a:pt x="162" y="78"/>
                  <a:pt x="168" y="86"/>
                </a:cubicBezTo>
                <a:cubicBezTo>
                  <a:pt x="174" y="92"/>
                  <a:pt x="180" y="100"/>
                  <a:pt x="185" y="107"/>
                </a:cubicBezTo>
                <a:cubicBezTo>
                  <a:pt x="188" y="110"/>
                  <a:pt x="191" y="114"/>
                  <a:pt x="194" y="118"/>
                </a:cubicBezTo>
                <a:cubicBezTo>
                  <a:pt x="197" y="122"/>
                  <a:pt x="199" y="125"/>
                  <a:pt x="202" y="129"/>
                </a:cubicBezTo>
                <a:cubicBezTo>
                  <a:pt x="205" y="133"/>
                  <a:pt x="207" y="137"/>
                  <a:pt x="209" y="141"/>
                </a:cubicBezTo>
                <a:cubicBezTo>
                  <a:pt x="215" y="151"/>
                  <a:pt x="221" y="160"/>
                  <a:pt x="225" y="170"/>
                </a:cubicBezTo>
                <a:cubicBezTo>
                  <a:pt x="231" y="181"/>
                  <a:pt x="236" y="193"/>
                  <a:pt x="240" y="205"/>
                </a:cubicBezTo>
                <a:cubicBezTo>
                  <a:pt x="243" y="211"/>
                  <a:pt x="244" y="217"/>
                  <a:pt x="246" y="222"/>
                </a:cubicBezTo>
                <a:cubicBezTo>
                  <a:pt x="247" y="223"/>
                  <a:pt x="247" y="224"/>
                  <a:pt x="248" y="224"/>
                </a:cubicBezTo>
                <a:cubicBezTo>
                  <a:pt x="248" y="224"/>
                  <a:pt x="248" y="224"/>
                  <a:pt x="248" y="224"/>
                </a:cubicBezTo>
                <a:cubicBezTo>
                  <a:pt x="249" y="224"/>
                  <a:pt x="249" y="224"/>
                  <a:pt x="249" y="224"/>
                </a:cubicBezTo>
                <a:cubicBezTo>
                  <a:pt x="249" y="223"/>
                  <a:pt x="250" y="223"/>
                  <a:pt x="250" y="222"/>
                </a:cubicBezTo>
                <a:cubicBezTo>
                  <a:pt x="250" y="219"/>
                  <a:pt x="251" y="216"/>
                  <a:pt x="251" y="213"/>
                </a:cubicBezTo>
                <a:cubicBezTo>
                  <a:pt x="251" y="209"/>
                  <a:pt x="252" y="205"/>
                  <a:pt x="253" y="202"/>
                </a:cubicBezTo>
                <a:cubicBezTo>
                  <a:pt x="253" y="201"/>
                  <a:pt x="253" y="200"/>
                  <a:pt x="253" y="200"/>
                </a:cubicBezTo>
                <a:cubicBezTo>
                  <a:pt x="255" y="194"/>
                  <a:pt x="255" y="191"/>
                  <a:pt x="256" y="186"/>
                </a:cubicBezTo>
                <a:cubicBezTo>
                  <a:pt x="257" y="183"/>
                  <a:pt x="257" y="181"/>
                  <a:pt x="259" y="176"/>
                </a:cubicBezTo>
                <a:cubicBezTo>
                  <a:pt x="260" y="172"/>
                  <a:pt x="261" y="170"/>
                  <a:pt x="262" y="166"/>
                </a:cubicBezTo>
                <a:cubicBezTo>
                  <a:pt x="262" y="164"/>
                  <a:pt x="263" y="162"/>
                  <a:pt x="264" y="160"/>
                </a:cubicBezTo>
                <a:cubicBezTo>
                  <a:pt x="264" y="159"/>
                  <a:pt x="266" y="158"/>
                  <a:pt x="267" y="158"/>
                </a:cubicBezTo>
                <a:cubicBezTo>
                  <a:pt x="268" y="157"/>
                  <a:pt x="270" y="158"/>
                  <a:pt x="270" y="159"/>
                </a:cubicBezTo>
                <a:cubicBezTo>
                  <a:pt x="271" y="161"/>
                  <a:pt x="272" y="162"/>
                  <a:pt x="272" y="164"/>
                </a:cubicBezTo>
                <a:cubicBezTo>
                  <a:pt x="272" y="165"/>
                  <a:pt x="272" y="166"/>
                  <a:pt x="272" y="167"/>
                </a:cubicBezTo>
                <a:cubicBezTo>
                  <a:pt x="272" y="172"/>
                  <a:pt x="271" y="176"/>
                  <a:pt x="270" y="180"/>
                </a:cubicBezTo>
                <a:cubicBezTo>
                  <a:pt x="269" y="186"/>
                  <a:pt x="268" y="192"/>
                  <a:pt x="267" y="199"/>
                </a:cubicBezTo>
                <a:cubicBezTo>
                  <a:pt x="266" y="204"/>
                  <a:pt x="265" y="209"/>
                  <a:pt x="265" y="215"/>
                </a:cubicBezTo>
                <a:cubicBezTo>
                  <a:pt x="264" y="226"/>
                  <a:pt x="263" y="237"/>
                  <a:pt x="261" y="249"/>
                </a:cubicBezTo>
                <a:cubicBezTo>
                  <a:pt x="261" y="254"/>
                  <a:pt x="260" y="260"/>
                  <a:pt x="260" y="265"/>
                </a:cubicBezTo>
                <a:cubicBezTo>
                  <a:pt x="260" y="267"/>
                  <a:pt x="260" y="269"/>
                  <a:pt x="259" y="271"/>
                </a:cubicBezTo>
                <a:cubicBezTo>
                  <a:pt x="258" y="273"/>
                  <a:pt x="256" y="275"/>
                  <a:pt x="254" y="275"/>
                </a:cubicBezTo>
                <a:cubicBezTo>
                  <a:pt x="251" y="275"/>
                  <a:pt x="249" y="275"/>
                  <a:pt x="246" y="273"/>
                </a:cubicBezTo>
                <a:cubicBezTo>
                  <a:pt x="245" y="272"/>
                  <a:pt x="244" y="271"/>
                  <a:pt x="243" y="269"/>
                </a:cubicBezTo>
                <a:cubicBezTo>
                  <a:pt x="243" y="268"/>
                  <a:pt x="242" y="267"/>
                  <a:pt x="242" y="267"/>
                </a:cubicBezTo>
                <a:cubicBezTo>
                  <a:pt x="234" y="259"/>
                  <a:pt x="226" y="252"/>
                  <a:pt x="219" y="244"/>
                </a:cubicBezTo>
                <a:cubicBezTo>
                  <a:pt x="216" y="241"/>
                  <a:pt x="213" y="239"/>
                  <a:pt x="210" y="235"/>
                </a:cubicBezTo>
                <a:cubicBezTo>
                  <a:pt x="203" y="228"/>
                  <a:pt x="195" y="220"/>
                  <a:pt x="187" y="213"/>
                </a:cubicBezTo>
                <a:cubicBezTo>
                  <a:pt x="182" y="209"/>
                  <a:pt x="177" y="204"/>
                  <a:pt x="171" y="201"/>
                </a:cubicBezTo>
                <a:cubicBezTo>
                  <a:pt x="170" y="201"/>
                  <a:pt x="169" y="201"/>
                  <a:pt x="169" y="200"/>
                </a:cubicBezTo>
                <a:cubicBezTo>
                  <a:pt x="169" y="200"/>
                  <a:pt x="169" y="200"/>
                  <a:pt x="168" y="199"/>
                </a:cubicBezTo>
                <a:cubicBezTo>
                  <a:pt x="167" y="198"/>
                  <a:pt x="167" y="195"/>
                  <a:pt x="169" y="194"/>
                </a:cubicBezTo>
                <a:cubicBezTo>
                  <a:pt x="171" y="192"/>
                  <a:pt x="174" y="192"/>
                  <a:pt x="176" y="193"/>
                </a:cubicBezTo>
                <a:cubicBezTo>
                  <a:pt x="180" y="194"/>
                  <a:pt x="184" y="196"/>
                  <a:pt x="187" y="199"/>
                </a:cubicBezTo>
                <a:cubicBezTo>
                  <a:pt x="193" y="204"/>
                  <a:pt x="199" y="209"/>
                  <a:pt x="205" y="214"/>
                </a:cubicBezTo>
                <a:cubicBezTo>
                  <a:pt x="212" y="221"/>
                  <a:pt x="219" y="228"/>
                  <a:pt x="225" y="235"/>
                </a:cubicBezTo>
                <a:cubicBezTo>
                  <a:pt x="228" y="238"/>
                  <a:pt x="231" y="240"/>
                  <a:pt x="234" y="243"/>
                </a:cubicBezTo>
                <a:cubicBezTo>
                  <a:pt x="234" y="243"/>
                  <a:pt x="235" y="243"/>
                  <a:pt x="236" y="243"/>
                </a:cubicBezTo>
                <a:cubicBezTo>
                  <a:pt x="236" y="242"/>
                  <a:pt x="236" y="242"/>
                  <a:pt x="236" y="241"/>
                </a:cubicBezTo>
                <a:cubicBezTo>
                  <a:pt x="235" y="235"/>
                  <a:pt x="233" y="228"/>
                  <a:pt x="231" y="222"/>
                </a:cubicBezTo>
                <a:cubicBezTo>
                  <a:pt x="230" y="221"/>
                  <a:pt x="230" y="219"/>
                  <a:pt x="229" y="217"/>
                </a:cubicBezTo>
                <a:cubicBezTo>
                  <a:pt x="229" y="216"/>
                  <a:pt x="228" y="214"/>
                  <a:pt x="228" y="212"/>
                </a:cubicBezTo>
                <a:cubicBezTo>
                  <a:pt x="224" y="203"/>
                  <a:pt x="221" y="193"/>
                  <a:pt x="217" y="183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1200" cap="none" spc="0" normalizeH="0" baseline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grpSp>
        <p:nvGrpSpPr>
          <p:cNvPr id="75" name="Group 74">
            <a:extLst>
              <a:ext uri="{FF2B5EF4-FFF2-40B4-BE49-F238E27FC236}">
                <a16:creationId xmlns:a16="http://schemas.microsoft.com/office/drawing/2014/main" id="{DB4AAEA7-16A3-0599-2DA7-1D80A8248641}"/>
              </a:ext>
            </a:extLst>
          </p:cNvPr>
          <p:cNvGrpSpPr/>
          <p:nvPr/>
        </p:nvGrpSpPr>
        <p:grpSpPr>
          <a:xfrm>
            <a:off x="3844275" y="670523"/>
            <a:ext cx="5195253" cy="462509"/>
            <a:chOff x="3844275" y="1032711"/>
            <a:chExt cx="5195253" cy="462509"/>
          </a:xfrm>
        </p:grpSpPr>
        <p:sp>
          <p:nvSpPr>
            <p:cNvPr id="47" name="Rectangle 46">
              <a:extLst>
                <a:ext uri="{FF2B5EF4-FFF2-40B4-BE49-F238E27FC236}">
                  <a16:creationId xmlns:a16="http://schemas.microsoft.com/office/drawing/2014/main" id="{D323645A-02EA-8271-B446-98E16A3AB9D2}"/>
                </a:ext>
              </a:extLst>
            </p:cNvPr>
            <p:cNvSpPr/>
            <p:nvPr/>
          </p:nvSpPr>
          <p:spPr>
            <a:xfrm>
              <a:off x="4144908" y="1072404"/>
              <a:ext cx="4894620" cy="383123"/>
            </a:xfrm>
            <a:custGeom>
              <a:avLst/>
              <a:gdLst>
                <a:gd name="connsiteX0" fmla="*/ 0 w 4894620"/>
                <a:gd name="connsiteY0" fmla="*/ 0 h 383123"/>
                <a:gd name="connsiteX1" fmla="*/ 797124 w 4894620"/>
                <a:gd name="connsiteY1" fmla="*/ 0 h 383123"/>
                <a:gd name="connsiteX2" fmla="*/ 1349517 w 4894620"/>
                <a:gd name="connsiteY2" fmla="*/ 0 h 383123"/>
                <a:gd name="connsiteX3" fmla="*/ 2048748 w 4894620"/>
                <a:gd name="connsiteY3" fmla="*/ 0 h 383123"/>
                <a:gd name="connsiteX4" fmla="*/ 2601141 w 4894620"/>
                <a:gd name="connsiteY4" fmla="*/ 0 h 383123"/>
                <a:gd name="connsiteX5" fmla="*/ 3251426 w 4894620"/>
                <a:gd name="connsiteY5" fmla="*/ 0 h 383123"/>
                <a:gd name="connsiteX6" fmla="*/ 3999604 w 4894620"/>
                <a:gd name="connsiteY6" fmla="*/ 0 h 383123"/>
                <a:gd name="connsiteX7" fmla="*/ 4894620 w 4894620"/>
                <a:gd name="connsiteY7" fmla="*/ 0 h 383123"/>
                <a:gd name="connsiteX8" fmla="*/ 4894620 w 4894620"/>
                <a:gd name="connsiteY8" fmla="*/ 383123 h 383123"/>
                <a:gd name="connsiteX9" fmla="*/ 4342227 w 4894620"/>
                <a:gd name="connsiteY9" fmla="*/ 383123 h 383123"/>
                <a:gd name="connsiteX10" fmla="*/ 3789834 w 4894620"/>
                <a:gd name="connsiteY10" fmla="*/ 383123 h 383123"/>
                <a:gd name="connsiteX11" fmla="*/ 3041657 w 4894620"/>
                <a:gd name="connsiteY11" fmla="*/ 383123 h 383123"/>
                <a:gd name="connsiteX12" fmla="*/ 2244533 w 4894620"/>
                <a:gd name="connsiteY12" fmla="*/ 383123 h 383123"/>
                <a:gd name="connsiteX13" fmla="*/ 1447409 w 4894620"/>
                <a:gd name="connsiteY13" fmla="*/ 383123 h 383123"/>
                <a:gd name="connsiteX14" fmla="*/ 748178 w 4894620"/>
                <a:gd name="connsiteY14" fmla="*/ 383123 h 383123"/>
                <a:gd name="connsiteX15" fmla="*/ 0 w 4894620"/>
                <a:gd name="connsiteY15" fmla="*/ 383123 h 383123"/>
                <a:gd name="connsiteX16" fmla="*/ 0 w 4894620"/>
                <a:gd name="connsiteY16" fmla="*/ 0 h 3831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4894620" h="383123" fill="none" extrusionOk="0">
                  <a:moveTo>
                    <a:pt x="0" y="0"/>
                  </a:moveTo>
                  <a:cubicBezTo>
                    <a:pt x="315132" y="6146"/>
                    <a:pt x="486909" y="-31983"/>
                    <a:pt x="797124" y="0"/>
                  </a:cubicBezTo>
                  <a:cubicBezTo>
                    <a:pt x="1107339" y="31983"/>
                    <a:pt x="1187308" y="-19504"/>
                    <a:pt x="1349517" y="0"/>
                  </a:cubicBezTo>
                  <a:cubicBezTo>
                    <a:pt x="1511726" y="19504"/>
                    <a:pt x="1775133" y="2158"/>
                    <a:pt x="2048748" y="0"/>
                  </a:cubicBezTo>
                  <a:cubicBezTo>
                    <a:pt x="2322363" y="-2158"/>
                    <a:pt x="2457655" y="-13982"/>
                    <a:pt x="2601141" y="0"/>
                  </a:cubicBezTo>
                  <a:cubicBezTo>
                    <a:pt x="2744627" y="13982"/>
                    <a:pt x="3117348" y="24073"/>
                    <a:pt x="3251426" y="0"/>
                  </a:cubicBezTo>
                  <a:cubicBezTo>
                    <a:pt x="3385504" y="-24073"/>
                    <a:pt x="3792590" y="14159"/>
                    <a:pt x="3999604" y="0"/>
                  </a:cubicBezTo>
                  <a:cubicBezTo>
                    <a:pt x="4206618" y="-14159"/>
                    <a:pt x="4541956" y="19635"/>
                    <a:pt x="4894620" y="0"/>
                  </a:cubicBezTo>
                  <a:cubicBezTo>
                    <a:pt x="4911017" y="158164"/>
                    <a:pt x="4890826" y="222061"/>
                    <a:pt x="4894620" y="383123"/>
                  </a:cubicBezTo>
                  <a:cubicBezTo>
                    <a:pt x="4639643" y="374253"/>
                    <a:pt x="4556628" y="382998"/>
                    <a:pt x="4342227" y="383123"/>
                  </a:cubicBezTo>
                  <a:cubicBezTo>
                    <a:pt x="4127826" y="383248"/>
                    <a:pt x="3996041" y="409911"/>
                    <a:pt x="3789834" y="383123"/>
                  </a:cubicBezTo>
                  <a:cubicBezTo>
                    <a:pt x="3583627" y="356335"/>
                    <a:pt x="3413244" y="351206"/>
                    <a:pt x="3041657" y="383123"/>
                  </a:cubicBezTo>
                  <a:cubicBezTo>
                    <a:pt x="2670070" y="415040"/>
                    <a:pt x="2437814" y="344628"/>
                    <a:pt x="2244533" y="383123"/>
                  </a:cubicBezTo>
                  <a:cubicBezTo>
                    <a:pt x="2051252" y="421618"/>
                    <a:pt x="1719049" y="387150"/>
                    <a:pt x="1447409" y="383123"/>
                  </a:cubicBezTo>
                  <a:cubicBezTo>
                    <a:pt x="1175769" y="379096"/>
                    <a:pt x="1063824" y="377012"/>
                    <a:pt x="748178" y="383123"/>
                  </a:cubicBezTo>
                  <a:cubicBezTo>
                    <a:pt x="432532" y="389234"/>
                    <a:pt x="308951" y="376740"/>
                    <a:pt x="0" y="383123"/>
                  </a:cubicBezTo>
                  <a:cubicBezTo>
                    <a:pt x="-4818" y="263200"/>
                    <a:pt x="3539" y="126426"/>
                    <a:pt x="0" y="0"/>
                  </a:cubicBezTo>
                  <a:close/>
                </a:path>
                <a:path w="4894620" h="383123" stroke="0" extrusionOk="0">
                  <a:moveTo>
                    <a:pt x="0" y="0"/>
                  </a:moveTo>
                  <a:cubicBezTo>
                    <a:pt x="140456" y="19446"/>
                    <a:pt x="391398" y="12599"/>
                    <a:pt x="552393" y="0"/>
                  </a:cubicBezTo>
                  <a:cubicBezTo>
                    <a:pt x="713388" y="-12599"/>
                    <a:pt x="1070981" y="-30192"/>
                    <a:pt x="1251624" y="0"/>
                  </a:cubicBezTo>
                  <a:cubicBezTo>
                    <a:pt x="1432267" y="30192"/>
                    <a:pt x="1640530" y="4798"/>
                    <a:pt x="1901909" y="0"/>
                  </a:cubicBezTo>
                  <a:cubicBezTo>
                    <a:pt x="2163288" y="-4798"/>
                    <a:pt x="2445764" y="9953"/>
                    <a:pt x="2699033" y="0"/>
                  </a:cubicBezTo>
                  <a:cubicBezTo>
                    <a:pt x="2952302" y="-9953"/>
                    <a:pt x="3131489" y="22927"/>
                    <a:pt x="3447211" y="0"/>
                  </a:cubicBezTo>
                  <a:cubicBezTo>
                    <a:pt x="3762933" y="-22927"/>
                    <a:pt x="4013321" y="-5552"/>
                    <a:pt x="4195389" y="0"/>
                  </a:cubicBezTo>
                  <a:cubicBezTo>
                    <a:pt x="4377457" y="5552"/>
                    <a:pt x="4640381" y="-31134"/>
                    <a:pt x="4894620" y="0"/>
                  </a:cubicBezTo>
                  <a:cubicBezTo>
                    <a:pt x="4887069" y="125821"/>
                    <a:pt x="4904165" y="297631"/>
                    <a:pt x="4894620" y="383123"/>
                  </a:cubicBezTo>
                  <a:cubicBezTo>
                    <a:pt x="4727929" y="401484"/>
                    <a:pt x="4468528" y="362692"/>
                    <a:pt x="4244335" y="383123"/>
                  </a:cubicBezTo>
                  <a:cubicBezTo>
                    <a:pt x="4020143" y="403554"/>
                    <a:pt x="3833211" y="377098"/>
                    <a:pt x="3642996" y="383123"/>
                  </a:cubicBezTo>
                  <a:cubicBezTo>
                    <a:pt x="3452781" y="389148"/>
                    <a:pt x="3337234" y="407913"/>
                    <a:pt x="3041657" y="383123"/>
                  </a:cubicBezTo>
                  <a:cubicBezTo>
                    <a:pt x="2746080" y="358333"/>
                    <a:pt x="2606350" y="398313"/>
                    <a:pt x="2293479" y="383123"/>
                  </a:cubicBezTo>
                  <a:cubicBezTo>
                    <a:pt x="1980608" y="367933"/>
                    <a:pt x="1802269" y="366121"/>
                    <a:pt x="1496355" y="383123"/>
                  </a:cubicBezTo>
                  <a:cubicBezTo>
                    <a:pt x="1190441" y="400125"/>
                    <a:pt x="1039269" y="417067"/>
                    <a:pt x="797124" y="383123"/>
                  </a:cubicBezTo>
                  <a:cubicBezTo>
                    <a:pt x="554979" y="349179"/>
                    <a:pt x="397214" y="380633"/>
                    <a:pt x="0" y="383123"/>
                  </a:cubicBezTo>
                  <a:cubicBezTo>
                    <a:pt x="13971" y="251216"/>
                    <a:pt x="18153" y="91502"/>
                    <a:pt x="0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solidFill>
                <a:schemeClr val="accent1">
                  <a:lumMod val="75000"/>
                  <a:lumOff val="25000"/>
                </a:schemeClr>
              </a:solidFill>
              <a:extLst>
                <a:ext uri="{C807C97D-BFC1-408E-A445-0C87EB9F89A2}">
                  <ask:lineSketchStyleProps xmlns:ask="http://schemas.microsoft.com/office/drawing/2018/sketchyshapes" sd="1901803019">
                    <a:prstGeom prst="rect">
                      <a:avLst/>
                    </a:prstGeom>
                    <ask:type>
                      <ask:lineSketchFreehand/>
                    </ask:type>
                  </ask:lineSketchStyleProps>
                </a:ext>
              </a:extLst>
            </a:ln>
            <a:effectLst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lIns="324000" rtlCol="0" anchor="ctr"/>
            <a:lstStyle/>
            <a:p>
              <a:r>
                <a:rPr lang="en-US" sz="1200" b="1" dirty="0">
                  <a:solidFill>
                    <a:schemeClr val="accent1"/>
                  </a:solidFill>
                </a:rPr>
                <a:t>Crash reconstruction</a:t>
              </a:r>
              <a:endParaRPr lang="en-US" sz="1200" dirty="0">
                <a:solidFill>
                  <a:schemeClr val="accent1"/>
                </a:solidFill>
              </a:endParaRPr>
            </a:p>
          </p:txBody>
        </p:sp>
        <p:grpSp>
          <p:nvGrpSpPr>
            <p:cNvPr id="48" name="Group 47">
              <a:extLst>
                <a:ext uri="{FF2B5EF4-FFF2-40B4-BE49-F238E27FC236}">
                  <a16:creationId xmlns:a16="http://schemas.microsoft.com/office/drawing/2014/main" id="{AF43EFA3-8932-2A96-CF51-DA834EE5F388}"/>
                </a:ext>
              </a:extLst>
            </p:cNvPr>
            <p:cNvGrpSpPr/>
            <p:nvPr/>
          </p:nvGrpSpPr>
          <p:grpSpPr>
            <a:xfrm>
              <a:off x="3844275" y="1032711"/>
              <a:ext cx="462509" cy="462509"/>
              <a:chOff x="4792949" y="-180313"/>
              <a:chExt cx="615600" cy="615600"/>
            </a:xfrm>
          </p:grpSpPr>
          <p:sp>
            <p:nvSpPr>
              <p:cNvPr id="49" name="Oval 48">
                <a:extLst>
                  <a:ext uri="{FF2B5EF4-FFF2-40B4-BE49-F238E27FC236}">
                    <a16:creationId xmlns:a16="http://schemas.microsoft.com/office/drawing/2014/main" id="{95FA2C31-9478-C535-C3CF-794CC3B3F18C}"/>
                  </a:ext>
                </a:extLst>
              </p:cNvPr>
              <p:cNvSpPr/>
              <p:nvPr/>
            </p:nvSpPr>
            <p:spPr>
              <a:xfrm>
                <a:off x="4792949" y="-180313"/>
                <a:ext cx="615600" cy="615600"/>
              </a:xfrm>
              <a:prstGeom prst="ellipse">
                <a:avLst/>
              </a:prstGeom>
              <a:solidFill>
                <a:srgbClr val="006DDA"/>
              </a:solidFill>
              <a:ln>
                <a:noFill/>
              </a:ln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endParaRPr lang="en-US" sz="1600" dirty="0">
                  <a:solidFill>
                    <a:schemeClr val="bg1"/>
                  </a:solidFill>
                </a:endParaRPr>
              </a:p>
            </p:txBody>
          </p:sp>
          <p:grpSp>
            <p:nvGrpSpPr>
              <p:cNvPr id="50" name="Group 49">
                <a:extLst>
                  <a:ext uri="{FF2B5EF4-FFF2-40B4-BE49-F238E27FC236}">
                    <a16:creationId xmlns:a16="http://schemas.microsoft.com/office/drawing/2014/main" id="{0005F287-F974-364F-86ED-C97422D7FE6F}"/>
                  </a:ext>
                </a:extLst>
              </p:cNvPr>
              <p:cNvGrpSpPr/>
              <p:nvPr/>
            </p:nvGrpSpPr>
            <p:grpSpPr>
              <a:xfrm>
                <a:off x="4841967" y="-40130"/>
                <a:ext cx="517564" cy="335235"/>
                <a:chOff x="8541174" y="662915"/>
                <a:chExt cx="1877907" cy="975688"/>
              </a:xfrm>
              <a:solidFill>
                <a:schemeClr val="bg1"/>
              </a:solidFill>
            </p:grpSpPr>
            <p:pic>
              <p:nvPicPr>
                <p:cNvPr id="51" name="Graphic 50" descr="Car with solid fill">
                  <a:extLst>
                    <a:ext uri="{FF2B5EF4-FFF2-40B4-BE49-F238E27FC236}">
                      <a16:creationId xmlns:a16="http://schemas.microsoft.com/office/drawing/2014/main" id="{AAE9CA39-0378-EDF9-15B6-045A9C4E3FDA}"/>
                    </a:ext>
                  </a:extLst>
                </p:cNvPr>
                <p:cNvPicPr>
                  <a:picLocks/>
                </p:cNvPicPr>
                <p:nvPr/>
              </p:nvPicPr>
              <p:blipFill>
                <a:blip r:embed="rId8" cstate="screen">
                  <a:extLst>
                    <a:ext uri="{28A0092B-C50C-407E-A947-70E740481C1C}">
                      <a14:useLocalDpi xmlns:a14="http://schemas.microsoft.com/office/drawing/2010/main"/>
                    </a:ext>
                    <a:ext uri="{96DAC541-7B7A-43D3-8B79-37D633B846F1}">
                      <asvg:svgBlip xmlns:asvg="http://schemas.microsoft.com/office/drawing/2016/SVG/main" r:embed="rId9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8541174" y="724203"/>
                  <a:ext cx="914400" cy="914400"/>
                </a:xfrm>
                <a:prstGeom prst="rect">
                  <a:avLst/>
                </a:prstGeom>
              </p:spPr>
            </p:pic>
            <p:pic>
              <p:nvPicPr>
                <p:cNvPr id="52" name="Graphic 51" descr="Car with solid fill">
                  <a:extLst>
                    <a:ext uri="{FF2B5EF4-FFF2-40B4-BE49-F238E27FC236}">
                      <a16:creationId xmlns:a16="http://schemas.microsoft.com/office/drawing/2014/main" id="{2FC19AA6-870E-E557-9681-1699D2B89240}"/>
                    </a:ext>
                  </a:extLst>
                </p:cNvPr>
                <p:cNvPicPr>
                  <a:picLocks/>
                </p:cNvPicPr>
                <p:nvPr/>
              </p:nvPicPr>
              <p:blipFill>
                <a:blip r:embed="rId8" cstate="screen">
                  <a:extLst>
                    <a:ext uri="{28A0092B-C50C-407E-A947-70E740481C1C}">
                      <a14:useLocalDpi xmlns:a14="http://schemas.microsoft.com/office/drawing/2010/main"/>
                    </a:ext>
                    <a:ext uri="{96DAC541-7B7A-43D3-8B79-37D633B846F1}">
                      <asvg:svgBlip xmlns:asvg="http://schemas.microsoft.com/office/drawing/2016/SVG/main" r:embed="rId9"/>
                    </a:ext>
                  </a:extLst>
                </a:blip>
                <a:stretch>
                  <a:fillRect/>
                </a:stretch>
              </p:blipFill>
              <p:spPr>
                <a:xfrm flipH="1">
                  <a:off x="9504681" y="724203"/>
                  <a:ext cx="914400" cy="914400"/>
                </a:xfrm>
                <a:prstGeom prst="rect">
                  <a:avLst/>
                </a:prstGeom>
              </p:spPr>
            </p:pic>
            <p:sp>
              <p:nvSpPr>
                <p:cNvPr id="53" name="Explosion: 8 Points 52">
                  <a:extLst>
                    <a:ext uri="{FF2B5EF4-FFF2-40B4-BE49-F238E27FC236}">
                      <a16:creationId xmlns:a16="http://schemas.microsoft.com/office/drawing/2014/main" id="{042CDBC3-B5A3-677B-00C4-57A5B35B3974}"/>
                    </a:ext>
                  </a:extLst>
                </p:cNvPr>
                <p:cNvSpPr/>
                <p:nvPr/>
              </p:nvSpPr>
              <p:spPr>
                <a:xfrm>
                  <a:off x="9275225" y="662915"/>
                  <a:ext cx="440765" cy="560329"/>
                </a:xfrm>
                <a:prstGeom prst="irregularSeal1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dk1"/>
                </a:lnRef>
                <a:fillRef idx="1">
                  <a:schemeClr val="lt1"/>
                </a:fillRef>
                <a:effectRef idx="0">
                  <a:schemeClr val="dk1"/>
                </a:effectRef>
                <a:fontRef idx="minor">
                  <a:schemeClr val="dk1"/>
                </a:fontRef>
              </p:style>
              <p:txBody>
                <a:bodyPr rtlCol="0" anchor="ctr"/>
                <a:lstStyle/>
                <a:p>
                  <a:pPr algn="ctr"/>
                  <a:endParaRPr lang="en-US" sz="1600" dirty="0">
                    <a:solidFill>
                      <a:schemeClr val="bg1"/>
                    </a:solidFill>
                  </a:endParaRPr>
                </a:p>
              </p:txBody>
            </p:sp>
          </p:grpSp>
        </p:grpSp>
      </p:grpSp>
      <p:grpSp>
        <p:nvGrpSpPr>
          <p:cNvPr id="71" name="Group 70">
            <a:extLst>
              <a:ext uri="{FF2B5EF4-FFF2-40B4-BE49-F238E27FC236}">
                <a16:creationId xmlns:a16="http://schemas.microsoft.com/office/drawing/2014/main" id="{454E615D-A78F-0EFF-CECF-02F7BEABD940}"/>
              </a:ext>
            </a:extLst>
          </p:cNvPr>
          <p:cNvGrpSpPr/>
          <p:nvPr/>
        </p:nvGrpSpPr>
        <p:grpSpPr>
          <a:xfrm>
            <a:off x="3844275" y="3016621"/>
            <a:ext cx="5195253" cy="665351"/>
            <a:chOff x="3844275" y="3387955"/>
            <a:chExt cx="5195253" cy="665351"/>
          </a:xfrm>
        </p:grpSpPr>
        <p:sp>
          <p:nvSpPr>
            <p:cNvPr id="54" name="Rectangle 53">
              <a:extLst>
                <a:ext uri="{FF2B5EF4-FFF2-40B4-BE49-F238E27FC236}">
                  <a16:creationId xmlns:a16="http://schemas.microsoft.com/office/drawing/2014/main" id="{ACAC39D9-8E4F-F5C0-F665-B133885CEF5A}"/>
                </a:ext>
              </a:extLst>
            </p:cNvPr>
            <p:cNvSpPr/>
            <p:nvPr/>
          </p:nvSpPr>
          <p:spPr>
            <a:xfrm>
              <a:off x="4144908" y="3387955"/>
              <a:ext cx="4894620" cy="665351"/>
            </a:xfrm>
            <a:custGeom>
              <a:avLst/>
              <a:gdLst>
                <a:gd name="connsiteX0" fmla="*/ 0 w 4894620"/>
                <a:gd name="connsiteY0" fmla="*/ 0 h 665351"/>
                <a:gd name="connsiteX1" fmla="*/ 601339 w 4894620"/>
                <a:gd name="connsiteY1" fmla="*/ 0 h 665351"/>
                <a:gd name="connsiteX2" fmla="*/ 1202678 w 4894620"/>
                <a:gd name="connsiteY2" fmla="*/ 0 h 665351"/>
                <a:gd name="connsiteX3" fmla="*/ 1755071 w 4894620"/>
                <a:gd name="connsiteY3" fmla="*/ 0 h 665351"/>
                <a:gd name="connsiteX4" fmla="*/ 2454302 w 4894620"/>
                <a:gd name="connsiteY4" fmla="*/ 0 h 665351"/>
                <a:gd name="connsiteX5" fmla="*/ 3153534 w 4894620"/>
                <a:gd name="connsiteY5" fmla="*/ 0 h 665351"/>
                <a:gd name="connsiteX6" fmla="*/ 3852765 w 4894620"/>
                <a:gd name="connsiteY6" fmla="*/ 0 h 665351"/>
                <a:gd name="connsiteX7" fmla="*/ 4894620 w 4894620"/>
                <a:gd name="connsiteY7" fmla="*/ 0 h 665351"/>
                <a:gd name="connsiteX8" fmla="*/ 4894620 w 4894620"/>
                <a:gd name="connsiteY8" fmla="*/ 665351 h 665351"/>
                <a:gd name="connsiteX9" fmla="*/ 4146442 w 4894620"/>
                <a:gd name="connsiteY9" fmla="*/ 665351 h 665351"/>
                <a:gd name="connsiteX10" fmla="*/ 3496157 w 4894620"/>
                <a:gd name="connsiteY10" fmla="*/ 665351 h 665351"/>
                <a:gd name="connsiteX11" fmla="*/ 2943764 w 4894620"/>
                <a:gd name="connsiteY11" fmla="*/ 665351 h 665351"/>
                <a:gd name="connsiteX12" fmla="*/ 2293479 w 4894620"/>
                <a:gd name="connsiteY12" fmla="*/ 665351 h 665351"/>
                <a:gd name="connsiteX13" fmla="*/ 1594248 w 4894620"/>
                <a:gd name="connsiteY13" fmla="*/ 665351 h 665351"/>
                <a:gd name="connsiteX14" fmla="*/ 1041855 w 4894620"/>
                <a:gd name="connsiteY14" fmla="*/ 665351 h 665351"/>
                <a:gd name="connsiteX15" fmla="*/ 0 w 4894620"/>
                <a:gd name="connsiteY15" fmla="*/ 665351 h 665351"/>
                <a:gd name="connsiteX16" fmla="*/ 0 w 4894620"/>
                <a:gd name="connsiteY16" fmla="*/ 0 h 6653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4894620" h="665351" fill="none" extrusionOk="0">
                  <a:moveTo>
                    <a:pt x="0" y="0"/>
                  </a:moveTo>
                  <a:cubicBezTo>
                    <a:pt x="137005" y="26332"/>
                    <a:pt x="390638" y="-24173"/>
                    <a:pt x="601339" y="0"/>
                  </a:cubicBezTo>
                  <a:cubicBezTo>
                    <a:pt x="812040" y="24173"/>
                    <a:pt x="988398" y="-10940"/>
                    <a:pt x="1202678" y="0"/>
                  </a:cubicBezTo>
                  <a:cubicBezTo>
                    <a:pt x="1416958" y="10940"/>
                    <a:pt x="1490848" y="-85"/>
                    <a:pt x="1755071" y="0"/>
                  </a:cubicBezTo>
                  <a:cubicBezTo>
                    <a:pt x="2019294" y="85"/>
                    <a:pt x="2256986" y="21001"/>
                    <a:pt x="2454302" y="0"/>
                  </a:cubicBezTo>
                  <a:cubicBezTo>
                    <a:pt x="2651618" y="-21001"/>
                    <a:pt x="2960223" y="12699"/>
                    <a:pt x="3153534" y="0"/>
                  </a:cubicBezTo>
                  <a:cubicBezTo>
                    <a:pt x="3346845" y="-12699"/>
                    <a:pt x="3582125" y="21386"/>
                    <a:pt x="3852765" y="0"/>
                  </a:cubicBezTo>
                  <a:cubicBezTo>
                    <a:pt x="4123405" y="-21386"/>
                    <a:pt x="4640334" y="-45335"/>
                    <a:pt x="4894620" y="0"/>
                  </a:cubicBezTo>
                  <a:cubicBezTo>
                    <a:pt x="4912822" y="179621"/>
                    <a:pt x="4880588" y="385330"/>
                    <a:pt x="4894620" y="665351"/>
                  </a:cubicBezTo>
                  <a:cubicBezTo>
                    <a:pt x="4638624" y="635287"/>
                    <a:pt x="4475744" y="702127"/>
                    <a:pt x="4146442" y="665351"/>
                  </a:cubicBezTo>
                  <a:cubicBezTo>
                    <a:pt x="3817140" y="628575"/>
                    <a:pt x="3698713" y="633035"/>
                    <a:pt x="3496157" y="665351"/>
                  </a:cubicBezTo>
                  <a:cubicBezTo>
                    <a:pt x="3293601" y="697667"/>
                    <a:pt x="3185577" y="654373"/>
                    <a:pt x="2943764" y="665351"/>
                  </a:cubicBezTo>
                  <a:cubicBezTo>
                    <a:pt x="2701951" y="676329"/>
                    <a:pt x="2537098" y="654064"/>
                    <a:pt x="2293479" y="665351"/>
                  </a:cubicBezTo>
                  <a:cubicBezTo>
                    <a:pt x="2049861" y="676638"/>
                    <a:pt x="1782150" y="644253"/>
                    <a:pt x="1594248" y="665351"/>
                  </a:cubicBezTo>
                  <a:cubicBezTo>
                    <a:pt x="1406346" y="686449"/>
                    <a:pt x="1304586" y="682789"/>
                    <a:pt x="1041855" y="665351"/>
                  </a:cubicBezTo>
                  <a:cubicBezTo>
                    <a:pt x="779124" y="647913"/>
                    <a:pt x="332956" y="687312"/>
                    <a:pt x="0" y="665351"/>
                  </a:cubicBezTo>
                  <a:cubicBezTo>
                    <a:pt x="-23302" y="367170"/>
                    <a:pt x="-25726" y="158943"/>
                    <a:pt x="0" y="0"/>
                  </a:cubicBezTo>
                  <a:close/>
                </a:path>
                <a:path w="4894620" h="665351" stroke="0" extrusionOk="0">
                  <a:moveTo>
                    <a:pt x="0" y="0"/>
                  </a:moveTo>
                  <a:cubicBezTo>
                    <a:pt x="336674" y="33765"/>
                    <a:pt x="401644" y="31667"/>
                    <a:pt x="699231" y="0"/>
                  </a:cubicBezTo>
                  <a:cubicBezTo>
                    <a:pt x="996818" y="-31667"/>
                    <a:pt x="1129950" y="24653"/>
                    <a:pt x="1398463" y="0"/>
                  </a:cubicBezTo>
                  <a:cubicBezTo>
                    <a:pt x="1666976" y="-24653"/>
                    <a:pt x="1829456" y="-23765"/>
                    <a:pt x="1950856" y="0"/>
                  </a:cubicBezTo>
                  <a:cubicBezTo>
                    <a:pt x="2072256" y="23765"/>
                    <a:pt x="2300864" y="21077"/>
                    <a:pt x="2650087" y="0"/>
                  </a:cubicBezTo>
                  <a:cubicBezTo>
                    <a:pt x="2999310" y="-21077"/>
                    <a:pt x="2944363" y="22903"/>
                    <a:pt x="3202480" y="0"/>
                  </a:cubicBezTo>
                  <a:cubicBezTo>
                    <a:pt x="3460597" y="-22903"/>
                    <a:pt x="3632378" y="-17486"/>
                    <a:pt x="3754873" y="0"/>
                  </a:cubicBezTo>
                  <a:cubicBezTo>
                    <a:pt x="3877368" y="17486"/>
                    <a:pt x="4491061" y="35126"/>
                    <a:pt x="4894620" y="0"/>
                  </a:cubicBezTo>
                  <a:cubicBezTo>
                    <a:pt x="4896997" y="195166"/>
                    <a:pt x="4914822" y="353087"/>
                    <a:pt x="4894620" y="665351"/>
                  </a:cubicBezTo>
                  <a:cubicBezTo>
                    <a:pt x="4562504" y="653141"/>
                    <a:pt x="4355247" y="662728"/>
                    <a:pt x="4097496" y="665351"/>
                  </a:cubicBezTo>
                  <a:cubicBezTo>
                    <a:pt x="3839745" y="667974"/>
                    <a:pt x="3687310" y="650694"/>
                    <a:pt x="3496157" y="665351"/>
                  </a:cubicBezTo>
                  <a:cubicBezTo>
                    <a:pt x="3305004" y="680008"/>
                    <a:pt x="2985900" y="687365"/>
                    <a:pt x="2796926" y="665351"/>
                  </a:cubicBezTo>
                  <a:cubicBezTo>
                    <a:pt x="2607952" y="643337"/>
                    <a:pt x="2292355" y="654210"/>
                    <a:pt x="2097694" y="665351"/>
                  </a:cubicBezTo>
                  <a:cubicBezTo>
                    <a:pt x="1903033" y="676492"/>
                    <a:pt x="1703395" y="682338"/>
                    <a:pt x="1447409" y="665351"/>
                  </a:cubicBezTo>
                  <a:cubicBezTo>
                    <a:pt x="1191423" y="648364"/>
                    <a:pt x="1064495" y="688721"/>
                    <a:pt x="797124" y="665351"/>
                  </a:cubicBezTo>
                  <a:cubicBezTo>
                    <a:pt x="529754" y="641981"/>
                    <a:pt x="219352" y="632316"/>
                    <a:pt x="0" y="665351"/>
                  </a:cubicBezTo>
                  <a:cubicBezTo>
                    <a:pt x="14573" y="501721"/>
                    <a:pt x="24779" y="260730"/>
                    <a:pt x="0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solidFill>
                <a:schemeClr val="accent1">
                  <a:lumMod val="75000"/>
                  <a:lumOff val="25000"/>
                </a:schemeClr>
              </a:solidFill>
              <a:extLst>
                <a:ext uri="{C807C97D-BFC1-408E-A445-0C87EB9F89A2}">
                  <ask:lineSketchStyleProps xmlns:ask="http://schemas.microsoft.com/office/drawing/2018/sketchyshapes" sd="2904102664">
                    <a:prstGeom prst="rect">
                      <a:avLst/>
                    </a:prstGeom>
                    <ask:type>
                      <ask:lineSketchFreehand/>
                    </ask:type>
                  </ask:lineSketchStyleProps>
                </a:ext>
              </a:extLst>
            </a:ln>
            <a:effectLst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lIns="324000" rtlCol="0" anchor="ctr"/>
            <a:lstStyle/>
            <a:p>
              <a:r>
                <a:rPr lang="en-US" sz="1200" b="1" dirty="0">
                  <a:solidFill>
                    <a:schemeClr val="accent1"/>
                  </a:solidFill>
                </a:rPr>
                <a:t>Analysis </a:t>
              </a:r>
              <a:r>
                <a:rPr lang="en-US" sz="1200" dirty="0">
                  <a:solidFill>
                    <a:schemeClr val="accent1"/>
                  </a:solidFill>
                </a:rPr>
                <a:t>of </a:t>
              </a:r>
              <a:r>
                <a:rPr lang="en-US" sz="1200" b="1" dirty="0">
                  <a:solidFill>
                    <a:schemeClr val="accent1"/>
                  </a:solidFill>
                </a:rPr>
                <a:t>traffic flows </a:t>
              </a:r>
              <a:r>
                <a:rPr lang="en-US" sz="1200" dirty="0">
                  <a:solidFill>
                    <a:schemeClr val="accent1"/>
                  </a:solidFill>
                </a:rPr>
                <a:t>to provide </a:t>
              </a:r>
              <a:r>
                <a:rPr lang="en-US" sz="1200" b="1" dirty="0">
                  <a:solidFill>
                    <a:schemeClr val="accent1"/>
                  </a:solidFill>
                </a:rPr>
                <a:t>valuable information </a:t>
              </a:r>
              <a:r>
                <a:rPr lang="en-US" sz="1200" dirty="0">
                  <a:solidFill>
                    <a:schemeClr val="accent1"/>
                  </a:solidFill>
                </a:rPr>
                <a:t>to both public and private players (e.g., transits near points of interest, identification of dangerous intersections, urban planning)</a:t>
              </a:r>
            </a:p>
          </p:txBody>
        </p:sp>
        <p:grpSp>
          <p:nvGrpSpPr>
            <p:cNvPr id="55" name="Group 54">
              <a:extLst>
                <a:ext uri="{FF2B5EF4-FFF2-40B4-BE49-F238E27FC236}">
                  <a16:creationId xmlns:a16="http://schemas.microsoft.com/office/drawing/2014/main" id="{9BE13A69-4E62-0604-768A-EE5F5F4FD3EA}"/>
                </a:ext>
              </a:extLst>
            </p:cNvPr>
            <p:cNvGrpSpPr/>
            <p:nvPr/>
          </p:nvGrpSpPr>
          <p:grpSpPr>
            <a:xfrm>
              <a:off x="3844275" y="3489376"/>
              <a:ext cx="462509" cy="462509"/>
              <a:chOff x="5131349" y="4645268"/>
              <a:chExt cx="615600" cy="615600"/>
            </a:xfrm>
          </p:grpSpPr>
          <p:sp>
            <p:nvSpPr>
              <p:cNvPr id="56" name="Oval 55">
                <a:extLst>
                  <a:ext uri="{FF2B5EF4-FFF2-40B4-BE49-F238E27FC236}">
                    <a16:creationId xmlns:a16="http://schemas.microsoft.com/office/drawing/2014/main" id="{45B8781E-9FD1-F874-3FB8-6DA084108075}"/>
                  </a:ext>
                </a:extLst>
              </p:cNvPr>
              <p:cNvSpPr/>
              <p:nvPr/>
            </p:nvSpPr>
            <p:spPr>
              <a:xfrm>
                <a:off x="5131349" y="4645268"/>
                <a:ext cx="615600" cy="61560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endParaRPr lang="en-US" sz="16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7" name="Freeform 10">
                <a:extLst>
                  <a:ext uri="{FF2B5EF4-FFF2-40B4-BE49-F238E27FC236}">
                    <a16:creationId xmlns:a16="http://schemas.microsoft.com/office/drawing/2014/main" id="{37A6254D-1CE2-E87E-6B0F-CFDDAE4F6F2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131349" y="4645268"/>
                <a:ext cx="615600" cy="615600"/>
              </a:xfrm>
              <a:custGeom>
                <a:avLst/>
                <a:gdLst>
                  <a:gd name="T0" fmla="*/ 632 w 754"/>
                  <a:gd name="T1" fmla="*/ 553 h 754"/>
                  <a:gd name="T2" fmla="*/ 427 w 754"/>
                  <a:gd name="T3" fmla="*/ 532 h 754"/>
                  <a:gd name="T4" fmla="*/ 334 w 754"/>
                  <a:gd name="T5" fmla="*/ 502 h 754"/>
                  <a:gd name="T6" fmla="*/ 583 w 754"/>
                  <a:gd name="T7" fmla="*/ 474 h 754"/>
                  <a:gd name="T8" fmla="*/ 533 w 754"/>
                  <a:gd name="T9" fmla="*/ 424 h 754"/>
                  <a:gd name="T10" fmla="*/ 501 w 754"/>
                  <a:gd name="T11" fmla="*/ 451 h 754"/>
                  <a:gd name="T12" fmla="*/ 390 w 754"/>
                  <a:gd name="T13" fmla="*/ 402 h 754"/>
                  <a:gd name="T14" fmla="*/ 394 w 754"/>
                  <a:gd name="T15" fmla="*/ 407 h 754"/>
                  <a:gd name="T16" fmla="*/ 372 w 754"/>
                  <a:gd name="T17" fmla="*/ 365 h 754"/>
                  <a:gd name="T18" fmla="*/ 513 w 754"/>
                  <a:gd name="T19" fmla="*/ 312 h 754"/>
                  <a:gd name="T20" fmla="*/ 374 w 754"/>
                  <a:gd name="T21" fmla="*/ 324 h 754"/>
                  <a:gd name="T22" fmla="*/ 380 w 754"/>
                  <a:gd name="T23" fmla="*/ 369 h 754"/>
                  <a:gd name="T24" fmla="*/ 384 w 754"/>
                  <a:gd name="T25" fmla="*/ 406 h 754"/>
                  <a:gd name="T26" fmla="*/ 447 w 754"/>
                  <a:gd name="T27" fmla="*/ 437 h 754"/>
                  <a:gd name="T28" fmla="*/ 500 w 754"/>
                  <a:gd name="T29" fmla="*/ 396 h 754"/>
                  <a:gd name="T30" fmla="*/ 522 w 754"/>
                  <a:gd name="T31" fmla="*/ 324 h 754"/>
                  <a:gd name="T32" fmla="*/ 397 w 754"/>
                  <a:gd name="T33" fmla="*/ 324 h 754"/>
                  <a:gd name="T34" fmla="*/ 391 w 754"/>
                  <a:gd name="T35" fmla="*/ 302 h 754"/>
                  <a:gd name="T36" fmla="*/ 392 w 754"/>
                  <a:gd name="T37" fmla="*/ 371 h 754"/>
                  <a:gd name="T38" fmla="*/ 456 w 754"/>
                  <a:gd name="T39" fmla="*/ 402 h 754"/>
                  <a:gd name="T40" fmla="*/ 463 w 754"/>
                  <a:gd name="T41" fmla="*/ 403 h 754"/>
                  <a:gd name="T42" fmla="*/ 446 w 754"/>
                  <a:gd name="T43" fmla="*/ 396 h 754"/>
                  <a:gd name="T44" fmla="*/ 441 w 754"/>
                  <a:gd name="T45" fmla="*/ 406 h 754"/>
                  <a:gd name="T46" fmla="*/ 451 w 754"/>
                  <a:gd name="T47" fmla="*/ 371 h 754"/>
                  <a:gd name="T48" fmla="*/ 438 w 754"/>
                  <a:gd name="T49" fmla="*/ 355 h 754"/>
                  <a:gd name="T50" fmla="*/ 427 w 754"/>
                  <a:gd name="T51" fmla="*/ 407 h 754"/>
                  <a:gd name="T52" fmla="*/ 418 w 754"/>
                  <a:gd name="T53" fmla="*/ 313 h 754"/>
                  <a:gd name="T54" fmla="*/ 416 w 754"/>
                  <a:gd name="T55" fmla="*/ 304 h 754"/>
                  <a:gd name="T56" fmla="*/ 410 w 754"/>
                  <a:gd name="T57" fmla="*/ 349 h 754"/>
                  <a:gd name="T58" fmla="*/ 418 w 754"/>
                  <a:gd name="T59" fmla="*/ 407 h 754"/>
                  <a:gd name="T60" fmla="*/ 416 w 754"/>
                  <a:gd name="T61" fmla="*/ 399 h 754"/>
                  <a:gd name="T62" fmla="*/ 426 w 754"/>
                  <a:gd name="T63" fmla="*/ 310 h 754"/>
                  <a:gd name="T64" fmla="*/ 436 w 754"/>
                  <a:gd name="T65" fmla="*/ 360 h 754"/>
                  <a:gd name="T66" fmla="*/ 428 w 754"/>
                  <a:gd name="T67" fmla="*/ 349 h 754"/>
                  <a:gd name="T68" fmla="*/ 440 w 754"/>
                  <a:gd name="T69" fmla="*/ 321 h 754"/>
                  <a:gd name="T70" fmla="*/ 472 w 754"/>
                  <a:gd name="T71" fmla="*/ 313 h 754"/>
                  <a:gd name="T72" fmla="*/ 470 w 754"/>
                  <a:gd name="T73" fmla="*/ 304 h 754"/>
                  <a:gd name="T74" fmla="*/ 456 w 754"/>
                  <a:gd name="T75" fmla="*/ 360 h 754"/>
                  <a:gd name="T76" fmla="*/ 481 w 754"/>
                  <a:gd name="T77" fmla="*/ 324 h 754"/>
                  <a:gd name="T78" fmla="*/ 487 w 754"/>
                  <a:gd name="T79" fmla="*/ 302 h 754"/>
                  <a:gd name="T80" fmla="*/ 476 w 754"/>
                  <a:gd name="T81" fmla="*/ 368 h 754"/>
                  <a:gd name="T82" fmla="*/ 490 w 754"/>
                  <a:gd name="T83" fmla="*/ 407 h 754"/>
                  <a:gd name="T84" fmla="*/ 488 w 754"/>
                  <a:gd name="T85" fmla="*/ 399 h 754"/>
                  <a:gd name="T86" fmla="*/ 498 w 754"/>
                  <a:gd name="T87" fmla="*/ 310 h 754"/>
                  <a:gd name="T88" fmla="*/ 505 w 754"/>
                  <a:gd name="T89" fmla="*/ 371 h 754"/>
                  <a:gd name="T90" fmla="*/ 492 w 754"/>
                  <a:gd name="T91" fmla="*/ 355 h 754"/>
                  <a:gd name="T92" fmla="*/ 518 w 754"/>
                  <a:gd name="T93" fmla="*/ 349 h 754"/>
                  <a:gd name="T94" fmla="*/ 512 w 754"/>
                  <a:gd name="T95" fmla="*/ 351 h 754"/>
                  <a:gd name="T96" fmla="*/ 520 w 754"/>
                  <a:gd name="T97" fmla="*/ 365 h 754"/>
                  <a:gd name="T98" fmla="*/ 484 w 754"/>
                  <a:gd name="T99" fmla="*/ 402 h 754"/>
                  <a:gd name="T100" fmla="*/ 484 w 754"/>
                  <a:gd name="T101" fmla="*/ 365 h 754"/>
                  <a:gd name="T102" fmla="*/ 480 w 754"/>
                  <a:gd name="T103" fmla="*/ 365 h 754"/>
                  <a:gd name="T104" fmla="*/ 464 w 754"/>
                  <a:gd name="T105" fmla="*/ 353 h 754"/>
                  <a:gd name="T106" fmla="*/ 466 w 754"/>
                  <a:gd name="T107" fmla="*/ 318 h 754"/>
                  <a:gd name="T108" fmla="*/ 464 w 754"/>
                  <a:gd name="T109" fmla="*/ 319 h 754"/>
                  <a:gd name="T110" fmla="*/ 444 w 754"/>
                  <a:gd name="T111" fmla="*/ 308 h 754"/>
                  <a:gd name="T112" fmla="*/ 430 w 754"/>
                  <a:gd name="T113" fmla="*/ 360 h 754"/>
                  <a:gd name="T114" fmla="*/ 429 w 754"/>
                  <a:gd name="T115" fmla="*/ 365 h 754"/>
                  <a:gd name="T116" fmla="*/ 408 w 754"/>
                  <a:gd name="T117" fmla="*/ 407 h 754"/>
                  <a:gd name="T118" fmla="*/ 411 w 754"/>
                  <a:gd name="T119" fmla="*/ 308 h 754"/>
                  <a:gd name="T120" fmla="*/ 393 w 754"/>
                  <a:gd name="T121" fmla="*/ 365 h 754"/>
                  <a:gd name="T122" fmla="*/ 390 w 754"/>
                  <a:gd name="T123" fmla="*/ 365 h 7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754" h="754">
                    <a:moveTo>
                      <a:pt x="754" y="377"/>
                    </a:moveTo>
                    <a:lnTo>
                      <a:pt x="754" y="377"/>
                    </a:lnTo>
                    <a:cubicBezTo>
                      <a:pt x="754" y="169"/>
                      <a:pt x="585" y="0"/>
                      <a:pt x="377" y="0"/>
                    </a:cubicBezTo>
                    <a:cubicBezTo>
                      <a:pt x="169" y="0"/>
                      <a:pt x="0" y="169"/>
                      <a:pt x="0" y="377"/>
                    </a:cubicBezTo>
                    <a:cubicBezTo>
                      <a:pt x="0" y="585"/>
                      <a:pt x="169" y="754"/>
                      <a:pt x="377" y="754"/>
                    </a:cubicBezTo>
                    <a:cubicBezTo>
                      <a:pt x="585" y="754"/>
                      <a:pt x="754" y="585"/>
                      <a:pt x="754" y="377"/>
                    </a:cubicBezTo>
                    <a:close/>
                    <a:moveTo>
                      <a:pt x="632" y="553"/>
                    </a:moveTo>
                    <a:lnTo>
                      <a:pt x="632" y="553"/>
                    </a:lnTo>
                    <a:cubicBezTo>
                      <a:pt x="628" y="557"/>
                      <a:pt x="622" y="559"/>
                      <a:pt x="617" y="559"/>
                    </a:cubicBezTo>
                    <a:cubicBezTo>
                      <a:pt x="611" y="559"/>
                      <a:pt x="606" y="557"/>
                      <a:pt x="602" y="553"/>
                    </a:cubicBezTo>
                    <a:lnTo>
                      <a:pt x="551" y="502"/>
                    </a:lnTo>
                    <a:lnTo>
                      <a:pt x="364" y="502"/>
                    </a:lnTo>
                    <a:lnTo>
                      <a:pt x="364" y="532"/>
                    </a:lnTo>
                    <a:lnTo>
                      <a:pt x="427" y="532"/>
                    </a:lnTo>
                    <a:cubicBezTo>
                      <a:pt x="436" y="532"/>
                      <a:pt x="443" y="539"/>
                      <a:pt x="443" y="548"/>
                    </a:cubicBezTo>
                    <a:cubicBezTo>
                      <a:pt x="443" y="557"/>
                      <a:pt x="436" y="562"/>
                      <a:pt x="427" y="562"/>
                    </a:cubicBezTo>
                    <a:lnTo>
                      <a:pt x="271" y="562"/>
                    </a:lnTo>
                    <a:cubicBezTo>
                      <a:pt x="262" y="562"/>
                      <a:pt x="256" y="557"/>
                      <a:pt x="256" y="548"/>
                    </a:cubicBezTo>
                    <a:cubicBezTo>
                      <a:pt x="256" y="539"/>
                      <a:pt x="262" y="532"/>
                      <a:pt x="271" y="532"/>
                    </a:cubicBezTo>
                    <a:lnTo>
                      <a:pt x="334" y="532"/>
                    </a:lnTo>
                    <a:lnTo>
                      <a:pt x="334" y="502"/>
                    </a:lnTo>
                    <a:lnTo>
                      <a:pt x="131" y="502"/>
                    </a:lnTo>
                    <a:cubicBezTo>
                      <a:pt x="122" y="502"/>
                      <a:pt x="116" y="494"/>
                      <a:pt x="116" y="486"/>
                    </a:cubicBezTo>
                    <a:lnTo>
                      <a:pt x="116" y="207"/>
                    </a:lnTo>
                    <a:cubicBezTo>
                      <a:pt x="116" y="198"/>
                      <a:pt x="122" y="191"/>
                      <a:pt x="131" y="191"/>
                    </a:cubicBezTo>
                    <a:lnTo>
                      <a:pt x="567" y="191"/>
                    </a:lnTo>
                    <a:cubicBezTo>
                      <a:pt x="576" y="191"/>
                      <a:pt x="583" y="198"/>
                      <a:pt x="583" y="207"/>
                    </a:cubicBezTo>
                    <a:lnTo>
                      <a:pt x="583" y="474"/>
                    </a:lnTo>
                    <a:lnTo>
                      <a:pt x="632" y="522"/>
                    </a:lnTo>
                    <a:cubicBezTo>
                      <a:pt x="640" y="531"/>
                      <a:pt x="640" y="544"/>
                      <a:pt x="632" y="553"/>
                    </a:cubicBezTo>
                    <a:close/>
                    <a:moveTo>
                      <a:pt x="533" y="424"/>
                    </a:moveTo>
                    <a:lnTo>
                      <a:pt x="533" y="424"/>
                    </a:lnTo>
                    <a:lnTo>
                      <a:pt x="551" y="441"/>
                    </a:lnTo>
                    <a:lnTo>
                      <a:pt x="551" y="391"/>
                    </a:lnTo>
                    <a:cubicBezTo>
                      <a:pt x="547" y="403"/>
                      <a:pt x="541" y="414"/>
                      <a:pt x="533" y="424"/>
                    </a:cubicBezTo>
                    <a:close/>
                    <a:moveTo>
                      <a:pt x="551" y="321"/>
                    </a:moveTo>
                    <a:lnTo>
                      <a:pt x="551" y="321"/>
                    </a:lnTo>
                    <a:lnTo>
                      <a:pt x="551" y="223"/>
                    </a:lnTo>
                    <a:lnTo>
                      <a:pt x="147" y="223"/>
                    </a:lnTo>
                    <a:lnTo>
                      <a:pt x="147" y="470"/>
                    </a:lnTo>
                    <a:lnTo>
                      <a:pt x="519" y="470"/>
                    </a:lnTo>
                    <a:lnTo>
                      <a:pt x="501" y="451"/>
                    </a:lnTo>
                    <a:cubicBezTo>
                      <a:pt x="485" y="460"/>
                      <a:pt x="467" y="465"/>
                      <a:pt x="447" y="465"/>
                    </a:cubicBezTo>
                    <a:cubicBezTo>
                      <a:pt x="387" y="465"/>
                      <a:pt x="338" y="416"/>
                      <a:pt x="338" y="355"/>
                    </a:cubicBezTo>
                    <a:cubicBezTo>
                      <a:pt x="338" y="295"/>
                      <a:pt x="387" y="246"/>
                      <a:pt x="447" y="246"/>
                    </a:cubicBezTo>
                    <a:cubicBezTo>
                      <a:pt x="496" y="246"/>
                      <a:pt x="537" y="278"/>
                      <a:pt x="551" y="321"/>
                    </a:cubicBezTo>
                    <a:close/>
                    <a:moveTo>
                      <a:pt x="392" y="401"/>
                    </a:moveTo>
                    <a:lnTo>
                      <a:pt x="392" y="401"/>
                    </a:lnTo>
                    <a:cubicBezTo>
                      <a:pt x="391" y="401"/>
                      <a:pt x="390" y="401"/>
                      <a:pt x="390" y="402"/>
                    </a:cubicBezTo>
                    <a:cubicBezTo>
                      <a:pt x="390" y="403"/>
                      <a:pt x="390" y="405"/>
                      <a:pt x="390" y="407"/>
                    </a:cubicBezTo>
                    <a:cubicBezTo>
                      <a:pt x="390" y="410"/>
                      <a:pt x="390" y="412"/>
                      <a:pt x="390" y="412"/>
                    </a:cubicBezTo>
                    <a:cubicBezTo>
                      <a:pt x="390" y="413"/>
                      <a:pt x="390" y="413"/>
                      <a:pt x="390" y="413"/>
                    </a:cubicBezTo>
                    <a:cubicBezTo>
                      <a:pt x="391" y="413"/>
                      <a:pt x="391" y="413"/>
                      <a:pt x="391" y="414"/>
                    </a:cubicBezTo>
                    <a:cubicBezTo>
                      <a:pt x="391" y="414"/>
                      <a:pt x="392" y="414"/>
                      <a:pt x="392" y="414"/>
                    </a:cubicBezTo>
                    <a:cubicBezTo>
                      <a:pt x="392" y="414"/>
                      <a:pt x="393" y="413"/>
                      <a:pt x="393" y="412"/>
                    </a:cubicBezTo>
                    <a:cubicBezTo>
                      <a:pt x="394" y="411"/>
                      <a:pt x="394" y="410"/>
                      <a:pt x="394" y="407"/>
                    </a:cubicBezTo>
                    <a:cubicBezTo>
                      <a:pt x="394" y="405"/>
                      <a:pt x="394" y="403"/>
                      <a:pt x="393" y="402"/>
                    </a:cubicBezTo>
                    <a:cubicBezTo>
                      <a:pt x="393" y="401"/>
                      <a:pt x="392" y="401"/>
                      <a:pt x="392" y="401"/>
                    </a:cubicBezTo>
                    <a:close/>
                    <a:moveTo>
                      <a:pt x="374" y="353"/>
                    </a:moveTo>
                    <a:lnTo>
                      <a:pt x="374" y="353"/>
                    </a:lnTo>
                    <a:cubicBezTo>
                      <a:pt x="373" y="353"/>
                      <a:pt x="372" y="354"/>
                      <a:pt x="372" y="355"/>
                    </a:cubicBezTo>
                    <a:cubicBezTo>
                      <a:pt x="372" y="356"/>
                      <a:pt x="372" y="358"/>
                      <a:pt x="372" y="360"/>
                    </a:cubicBezTo>
                    <a:cubicBezTo>
                      <a:pt x="372" y="363"/>
                      <a:pt x="372" y="364"/>
                      <a:pt x="372" y="365"/>
                    </a:cubicBezTo>
                    <a:cubicBezTo>
                      <a:pt x="372" y="366"/>
                      <a:pt x="373" y="367"/>
                      <a:pt x="374" y="367"/>
                    </a:cubicBezTo>
                    <a:cubicBezTo>
                      <a:pt x="374" y="367"/>
                      <a:pt x="375" y="366"/>
                      <a:pt x="375" y="365"/>
                    </a:cubicBezTo>
                    <a:cubicBezTo>
                      <a:pt x="376" y="364"/>
                      <a:pt x="376" y="362"/>
                      <a:pt x="376" y="360"/>
                    </a:cubicBezTo>
                    <a:cubicBezTo>
                      <a:pt x="376" y="358"/>
                      <a:pt x="376" y="356"/>
                      <a:pt x="375" y="355"/>
                    </a:cubicBezTo>
                    <a:cubicBezTo>
                      <a:pt x="375" y="354"/>
                      <a:pt x="374" y="353"/>
                      <a:pt x="374" y="353"/>
                    </a:cubicBezTo>
                    <a:close/>
                    <a:moveTo>
                      <a:pt x="513" y="312"/>
                    </a:moveTo>
                    <a:lnTo>
                      <a:pt x="513" y="312"/>
                    </a:lnTo>
                    <a:lnTo>
                      <a:pt x="510" y="308"/>
                    </a:lnTo>
                    <a:lnTo>
                      <a:pt x="512" y="307"/>
                    </a:lnTo>
                    <a:cubicBezTo>
                      <a:pt x="497" y="287"/>
                      <a:pt x="474" y="274"/>
                      <a:pt x="447" y="274"/>
                    </a:cubicBezTo>
                    <a:cubicBezTo>
                      <a:pt x="420" y="274"/>
                      <a:pt x="396" y="288"/>
                      <a:pt x="381" y="309"/>
                    </a:cubicBezTo>
                    <a:cubicBezTo>
                      <a:pt x="381" y="310"/>
                      <a:pt x="382" y="311"/>
                      <a:pt x="382" y="313"/>
                    </a:cubicBezTo>
                    <a:cubicBezTo>
                      <a:pt x="382" y="317"/>
                      <a:pt x="381" y="319"/>
                      <a:pt x="380" y="321"/>
                    </a:cubicBezTo>
                    <a:cubicBezTo>
                      <a:pt x="378" y="323"/>
                      <a:pt x="376" y="324"/>
                      <a:pt x="374" y="324"/>
                    </a:cubicBezTo>
                    <a:cubicBezTo>
                      <a:pt x="373" y="324"/>
                      <a:pt x="373" y="324"/>
                      <a:pt x="373" y="324"/>
                    </a:cubicBezTo>
                    <a:cubicBezTo>
                      <a:pt x="369" y="333"/>
                      <a:pt x="367" y="343"/>
                      <a:pt x="366" y="354"/>
                    </a:cubicBezTo>
                    <a:cubicBezTo>
                      <a:pt x="367" y="353"/>
                      <a:pt x="367" y="352"/>
                      <a:pt x="368" y="351"/>
                    </a:cubicBezTo>
                    <a:cubicBezTo>
                      <a:pt x="369" y="350"/>
                      <a:pt x="371" y="349"/>
                      <a:pt x="374" y="349"/>
                    </a:cubicBezTo>
                    <a:cubicBezTo>
                      <a:pt x="376" y="349"/>
                      <a:pt x="378" y="350"/>
                      <a:pt x="380" y="352"/>
                    </a:cubicBezTo>
                    <a:cubicBezTo>
                      <a:pt x="381" y="353"/>
                      <a:pt x="382" y="356"/>
                      <a:pt x="382" y="360"/>
                    </a:cubicBezTo>
                    <a:cubicBezTo>
                      <a:pt x="382" y="364"/>
                      <a:pt x="381" y="367"/>
                      <a:pt x="380" y="369"/>
                    </a:cubicBezTo>
                    <a:cubicBezTo>
                      <a:pt x="378" y="370"/>
                      <a:pt x="376" y="371"/>
                      <a:pt x="374" y="371"/>
                    </a:cubicBezTo>
                    <a:cubicBezTo>
                      <a:pt x="371" y="371"/>
                      <a:pt x="369" y="370"/>
                      <a:pt x="368" y="368"/>
                    </a:cubicBezTo>
                    <a:cubicBezTo>
                      <a:pt x="368" y="368"/>
                      <a:pt x="367" y="368"/>
                      <a:pt x="367" y="368"/>
                    </a:cubicBezTo>
                    <a:cubicBezTo>
                      <a:pt x="369" y="379"/>
                      <a:pt x="373" y="388"/>
                      <a:pt x="378" y="397"/>
                    </a:cubicBezTo>
                    <a:cubicBezTo>
                      <a:pt x="379" y="398"/>
                      <a:pt x="379" y="398"/>
                      <a:pt x="380" y="399"/>
                    </a:cubicBezTo>
                    <a:cubicBezTo>
                      <a:pt x="380" y="400"/>
                      <a:pt x="381" y="401"/>
                      <a:pt x="381" y="402"/>
                    </a:cubicBezTo>
                    <a:cubicBezTo>
                      <a:pt x="382" y="403"/>
                      <a:pt x="383" y="404"/>
                      <a:pt x="384" y="406"/>
                    </a:cubicBezTo>
                    <a:cubicBezTo>
                      <a:pt x="384" y="403"/>
                      <a:pt x="385" y="400"/>
                      <a:pt x="386" y="399"/>
                    </a:cubicBezTo>
                    <a:cubicBezTo>
                      <a:pt x="387" y="397"/>
                      <a:pt x="389" y="396"/>
                      <a:pt x="392" y="396"/>
                    </a:cubicBezTo>
                    <a:cubicBezTo>
                      <a:pt x="394" y="396"/>
                      <a:pt x="396" y="397"/>
                      <a:pt x="398" y="399"/>
                    </a:cubicBezTo>
                    <a:cubicBezTo>
                      <a:pt x="399" y="401"/>
                      <a:pt x="400" y="404"/>
                      <a:pt x="400" y="407"/>
                    </a:cubicBezTo>
                    <a:cubicBezTo>
                      <a:pt x="400" y="411"/>
                      <a:pt x="399" y="414"/>
                      <a:pt x="398" y="416"/>
                    </a:cubicBezTo>
                    <a:cubicBezTo>
                      <a:pt x="397" y="417"/>
                      <a:pt x="396" y="417"/>
                      <a:pt x="396" y="418"/>
                    </a:cubicBezTo>
                    <a:cubicBezTo>
                      <a:pt x="410" y="429"/>
                      <a:pt x="428" y="437"/>
                      <a:pt x="447" y="437"/>
                    </a:cubicBezTo>
                    <a:cubicBezTo>
                      <a:pt x="467" y="437"/>
                      <a:pt x="485" y="430"/>
                      <a:pt x="499" y="418"/>
                    </a:cubicBezTo>
                    <a:lnTo>
                      <a:pt x="499" y="407"/>
                    </a:lnTo>
                    <a:cubicBezTo>
                      <a:pt x="499" y="405"/>
                      <a:pt x="499" y="404"/>
                      <a:pt x="499" y="403"/>
                    </a:cubicBezTo>
                    <a:cubicBezTo>
                      <a:pt x="499" y="403"/>
                      <a:pt x="498" y="404"/>
                      <a:pt x="498" y="404"/>
                    </a:cubicBezTo>
                    <a:lnTo>
                      <a:pt x="495" y="406"/>
                    </a:lnTo>
                    <a:lnTo>
                      <a:pt x="492" y="402"/>
                    </a:lnTo>
                    <a:lnTo>
                      <a:pt x="500" y="396"/>
                    </a:lnTo>
                    <a:lnTo>
                      <a:pt x="505" y="396"/>
                    </a:lnTo>
                    <a:lnTo>
                      <a:pt x="505" y="412"/>
                    </a:lnTo>
                    <a:cubicBezTo>
                      <a:pt x="507" y="411"/>
                      <a:pt x="509" y="409"/>
                      <a:pt x="510" y="407"/>
                    </a:cubicBezTo>
                    <a:cubicBezTo>
                      <a:pt x="510" y="403"/>
                      <a:pt x="511" y="400"/>
                      <a:pt x="512" y="399"/>
                    </a:cubicBezTo>
                    <a:cubicBezTo>
                      <a:pt x="513" y="397"/>
                      <a:pt x="515" y="396"/>
                      <a:pt x="518" y="396"/>
                    </a:cubicBezTo>
                    <a:cubicBezTo>
                      <a:pt x="525" y="384"/>
                      <a:pt x="529" y="370"/>
                      <a:pt x="529" y="355"/>
                    </a:cubicBezTo>
                    <a:cubicBezTo>
                      <a:pt x="529" y="344"/>
                      <a:pt x="526" y="333"/>
                      <a:pt x="522" y="324"/>
                    </a:cubicBezTo>
                    <a:lnTo>
                      <a:pt x="517" y="324"/>
                    </a:lnTo>
                    <a:lnTo>
                      <a:pt x="517" y="314"/>
                    </a:lnTo>
                    <a:cubicBezTo>
                      <a:pt x="516" y="313"/>
                      <a:pt x="516" y="312"/>
                      <a:pt x="515" y="310"/>
                    </a:cubicBezTo>
                    <a:lnTo>
                      <a:pt x="513" y="312"/>
                    </a:lnTo>
                    <a:lnTo>
                      <a:pt x="513" y="312"/>
                    </a:lnTo>
                    <a:close/>
                    <a:moveTo>
                      <a:pt x="397" y="324"/>
                    </a:moveTo>
                    <a:lnTo>
                      <a:pt x="397" y="324"/>
                    </a:lnTo>
                    <a:lnTo>
                      <a:pt x="391" y="324"/>
                    </a:lnTo>
                    <a:lnTo>
                      <a:pt x="391" y="312"/>
                    </a:lnTo>
                    <a:cubicBezTo>
                      <a:pt x="391" y="311"/>
                      <a:pt x="391" y="309"/>
                      <a:pt x="391" y="308"/>
                    </a:cubicBezTo>
                    <a:cubicBezTo>
                      <a:pt x="391" y="309"/>
                      <a:pt x="390" y="309"/>
                      <a:pt x="390" y="310"/>
                    </a:cubicBezTo>
                    <a:lnTo>
                      <a:pt x="387" y="312"/>
                    </a:lnTo>
                    <a:lnTo>
                      <a:pt x="384" y="308"/>
                    </a:lnTo>
                    <a:lnTo>
                      <a:pt x="391" y="302"/>
                    </a:lnTo>
                    <a:lnTo>
                      <a:pt x="397" y="302"/>
                    </a:lnTo>
                    <a:lnTo>
                      <a:pt x="397" y="324"/>
                    </a:lnTo>
                    <a:lnTo>
                      <a:pt x="397" y="324"/>
                    </a:lnTo>
                    <a:close/>
                    <a:moveTo>
                      <a:pt x="400" y="360"/>
                    </a:moveTo>
                    <a:lnTo>
                      <a:pt x="400" y="360"/>
                    </a:lnTo>
                    <a:cubicBezTo>
                      <a:pt x="400" y="364"/>
                      <a:pt x="399" y="367"/>
                      <a:pt x="398" y="369"/>
                    </a:cubicBezTo>
                    <a:cubicBezTo>
                      <a:pt x="396" y="370"/>
                      <a:pt x="394" y="371"/>
                      <a:pt x="392" y="371"/>
                    </a:cubicBezTo>
                    <a:cubicBezTo>
                      <a:pt x="389" y="371"/>
                      <a:pt x="387" y="370"/>
                      <a:pt x="386" y="368"/>
                    </a:cubicBezTo>
                    <a:cubicBezTo>
                      <a:pt x="384" y="367"/>
                      <a:pt x="384" y="364"/>
                      <a:pt x="384" y="360"/>
                    </a:cubicBezTo>
                    <a:cubicBezTo>
                      <a:pt x="384" y="356"/>
                      <a:pt x="384" y="353"/>
                      <a:pt x="386" y="351"/>
                    </a:cubicBezTo>
                    <a:cubicBezTo>
                      <a:pt x="387" y="350"/>
                      <a:pt x="389" y="349"/>
                      <a:pt x="392" y="349"/>
                    </a:cubicBezTo>
                    <a:cubicBezTo>
                      <a:pt x="394" y="349"/>
                      <a:pt x="396" y="350"/>
                      <a:pt x="398" y="352"/>
                    </a:cubicBezTo>
                    <a:cubicBezTo>
                      <a:pt x="399" y="353"/>
                      <a:pt x="400" y="356"/>
                      <a:pt x="400" y="360"/>
                    </a:cubicBezTo>
                    <a:close/>
                    <a:moveTo>
                      <a:pt x="456" y="402"/>
                    </a:moveTo>
                    <a:lnTo>
                      <a:pt x="456" y="402"/>
                    </a:lnTo>
                    <a:lnTo>
                      <a:pt x="464" y="396"/>
                    </a:lnTo>
                    <a:lnTo>
                      <a:pt x="469" y="396"/>
                    </a:lnTo>
                    <a:lnTo>
                      <a:pt x="469" y="418"/>
                    </a:lnTo>
                    <a:lnTo>
                      <a:pt x="463" y="418"/>
                    </a:lnTo>
                    <a:lnTo>
                      <a:pt x="463" y="407"/>
                    </a:lnTo>
                    <a:cubicBezTo>
                      <a:pt x="463" y="405"/>
                      <a:pt x="463" y="404"/>
                      <a:pt x="463" y="403"/>
                    </a:cubicBezTo>
                    <a:cubicBezTo>
                      <a:pt x="463" y="403"/>
                      <a:pt x="462" y="404"/>
                      <a:pt x="462" y="404"/>
                    </a:cubicBezTo>
                    <a:lnTo>
                      <a:pt x="459" y="406"/>
                    </a:lnTo>
                    <a:lnTo>
                      <a:pt x="456" y="402"/>
                    </a:lnTo>
                    <a:lnTo>
                      <a:pt x="456" y="402"/>
                    </a:lnTo>
                    <a:close/>
                    <a:moveTo>
                      <a:pt x="438" y="402"/>
                    </a:moveTo>
                    <a:lnTo>
                      <a:pt x="438" y="402"/>
                    </a:lnTo>
                    <a:lnTo>
                      <a:pt x="446" y="396"/>
                    </a:lnTo>
                    <a:lnTo>
                      <a:pt x="451" y="396"/>
                    </a:lnTo>
                    <a:lnTo>
                      <a:pt x="451" y="418"/>
                    </a:lnTo>
                    <a:lnTo>
                      <a:pt x="445" y="418"/>
                    </a:lnTo>
                    <a:lnTo>
                      <a:pt x="445" y="407"/>
                    </a:lnTo>
                    <a:cubicBezTo>
                      <a:pt x="445" y="405"/>
                      <a:pt x="445" y="404"/>
                      <a:pt x="445" y="403"/>
                    </a:cubicBezTo>
                    <a:cubicBezTo>
                      <a:pt x="445" y="403"/>
                      <a:pt x="444" y="404"/>
                      <a:pt x="444" y="404"/>
                    </a:cubicBezTo>
                    <a:lnTo>
                      <a:pt x="441" y="406"/>
                    </a:lnTo>
                    <a:lnTo>
                      <a:pt x="438" y="402"/>
                    </a:lnTo>
                    <a:lnTo>
                      <a:pt x="438" y="402"/>
                    </a:lnTo>
                    <a:close/>
                    <a:moveTo>
                      <a:pt x="438" y="355"/>
                    </a:moveTo>
                    <a:lnTo>
                      <a:pt x="438" y="355"/>
                    </a:lnTo>
                    <a:lnTo>
                      <a:pt x="446" y="349"/>
                    </a:lnTo>
                    <a:lnTo>
                      <a:pt x="451" y="349"/>
                    </a:lnTo>
                    <a:lnTo>
                      <a:pt x="451" y="371"/>
                    </a:lnTo>
                    <a:lnTo>
                      <a:pt x="445" y="371"/>
                    </a:lnTo>
                    <a:lnTo>
                      <a:pt x="445" y="359"/>
                    </a:lnTo>
                    <a:cubicBezTo>
                      <a:pt x="445" y="358"/>
                      <a:pt x="445" y="357"/>
                      <a:pt x="445" y="355"/>
                    </a:cubicBezTo>
                    <a:cubicBezTo>
                      <a:pt x="445" y="356"/>
                      <a:pt x="444" y="356"/>
                      <a:pt x="444" y="357"/>
                    </a:cubicBezTo>
                    <a:lnTo>
                      <a:pt x="441" y="359"/>
                    </a:lnTo>
                    <a:lnTo>
                      <a:pt x="438" y="355"/>
                    </a:lnTo>
                    <a:lnTo>
                      <a:pt x="438" y="355"/>
                    </a:lnTo>
                    <a:close/>
                    <a:moveTo>
                      <a:pt x="420" y="402"/>
                    </a:moveTo>
                    <a:lnTo>
                      <a:pt x="420" y="402"/>
                    </a:lnTo>
                    <a:lnTo>
                      <a:pt x="428" y="396"/>
                    </a:lnTo>
                    <a:lnTo>
                      <a:pt x="433" y="396"/>
                    </a:lnTo>
                    <a:lnTo>
                      <a:pt x="433" y="418"/>
                    </a:lnTo>
                    <a:lnTo>
                      <a:pt x="427" y="418"/>
                    </a:lnTo>
                    <a:lnTo>
                      <a:pt x="427" y="407"/>
                    </a:lnTo>
                    <a:cubicBezTo>
                      <a:pt x="427" y="405"/>
                      <a:pt x="427" y="404"/>
                      <a:pt x="427" y="403"/>
                    </a:cubicBezTo>
                    <a:cubicBezTo>
                      <a:pt x="427" y="403"/>
                      <a:pt x="426" y="404"/>
                      <a:pt x="426" y="404"/>
                    </a:cubicBezTo>
                    <a:lnTo>
                      <a:pt x="423" y="406"/>
                    </a:lnTo>
                    <a:lnTo>
                      <a:pt x="420" y="402"/>
                    </a:lnTo>
                    <a:lnTo>
                      <a:pt x="420" y="402"/>
                    </a:lnTo>
                    <a:close/>
                    <a:moveTo>
                      <a:pt x="418" y="313"/>
                    </a:moveTo>
                    <a:lnTo>
                      <a:pt x="418" y="313"/>
                    </a:lnTo>
                    <a:cubicBezTo>
                      <a:pt x="418" y="317"/>
                      <a:pt x="417" y="319"/>
                      <a:pt x="416" y="321"/>
                    </a:cubicBezTo>
                    <a:cubicBezTo>
                      <a:pt x="414" y="323"/>
                      <a:pt x="412" y="324"/>
                      <a:pt x="410" y="324"/>
                    </a:cubicBezTo>
                    <a:cubicBezTo>
                      <a:pt x="407" y="324"/>
                      <a:pt x="405" y="323"/>
                      <a:pt x="404" y="321"/>
                    </a:cubicBezTo>
                    <a:cubicBezTo>
                      <a:pt x="402" y="319"/>
                      <a:pt x="402" y="316"/>
                      <a:pt x="402" y="313"/>
                    </a:cubicBezTo>
                    <a:cubicBezTo>
                      <a:pt x="402" y="309"/>
                      <a:pt x="402" y="306"/>
                      <a:pt x="404" y="304"/>
                    </a:cubicBezTo>
                    <a:cubicBezTo>
                      <a:pt x="405" y="302"/>
                      <a:pt x="407" y="301"/>
                      <a:pt x="410" y="301"/>
                    </a:cubicBezTo>
                    <a:cubicBezTo>
                      <a:pt x="412" y="301"/>
                      <a:pt x="414" y="302"/>
                      <a:pt x="416" y="304"/>
                    </a:cubicBezTo>
                    <a:cubicBezTo>
                      <a:pt x="417" y="306"/>
                      <a:pt x="418" y="309"/>
                      <a:pt x="418" y="313"/>
                    </a:cubicBezTo>
                    <a:close/>
                    <a:moveTo>
                      <a:pt x="409" y="355"/>
                    </a:moveTo>
                    <a:lnTo>
                      <a:pt x="409" y="355"/>
                    </a:lnTo>
                    <a:cubicBezTo>
                      <a:pt x="409" y="356"/>
                      <a:pt x="408" y="356"/>
                      <a:pt x="408" y="357"/>
                    </a:cubicBezTo>
                    <a:lnTo>
                      <a:pt x="405" y="359"/>
                    </a:lnTo>
                    <a:lnTo>
                      <a:pt x="402" y="355"/>
                    </a:lnTo>
                    <a:lnTo>
                      <a:pt x="410" y="349"/>
                    </a:lnTo>
                    <a:lnTo>
                      <a:pt x="415" y="349"/>
                    </a:lnTo>
                    <a:lnTo>
                      <a:pt x="415" y="371"/>
                    </a:lnTo>
                    <a:lnTo>
                      <a:pt x="409" y="371"/>
                    </a:lnTo>
                    <a:lnTo>
                      <a:pt x="409" y="359"/>
                    </a:lnTo>
                    <a:cubicBezTo>
                      <a:pt x="409" y="358"/>
                      <a:pt x="409" y="357"/>
                      <a:pt x="409" y="355"/>
                    </a:cubicBezTo>
                    <a:close/>
                    <a:moveTo>
                      <a:pt x="418" y="407"/>
                    </a:moveTo>
                    <a:lnTo>
                      <a:pt x="418" y="407"/>
                    </a:lnTo>
                    <a:cubicBezTo>
                      <a:pt x="418" y="411"/>
                      <a:pt x="417" y="414"/>
                      <a:pt x="416" y="416"/>
                    </a:cubicBezTo>
                    <a:cubicBezTo>
                      <a:pt x="414" y="418"/>
                      <a:pt x="412" y="419"/>
                      <a:pt x="410" y="419"/>
                    </a:cubicBezTo>
                    <a:cubicBezTo>
                      <a:pt x="407" y="419"/>
                      <a:pt x="405" y="418"/>
                      <a:pt x="404" y="416"/>
                    </a:cubicBezTo>
                    <a:cubicBezTo>
                      <a:pt x="402" y="414"/>
                      <a:pt x="402" y="411"/>
                      <a:pt x="402" y="407"/>
                    </a:cubicBezTo>
                    <a:cubicBezTo>
                      <a:pt x="402" y="403"/>
                      <a:pt x="402" y="401"/>
                      <a:pt x="404" y="399"/>
                    </a:cubicBezTo>
                    <a:cubicBezTo>
                      <a:pt x="405" y="397"/>
                      <a:pt x="407" y="396"/>
                      <a:pt x="410" y="396"/>
                    </a:cubicBezTo>
                    <a:cubicBezTo>
                      <a:pt x="412" y="396"/>
                      <a:pt x="414" y="397"/>
                      <a:pt x="416" y="399"/>
                    </a:cubicBezTo>
                    <a:cubicBezTo>
                      <a:pt x="417" y="401"/>
                      <a:pt x="418" y="404"/>
                      <a:pt x="418" y="407"/>
                    </a:cubicBezTo>
                    <a:close/>
                    <a:moveTo>
                      <a:pt x="433" y="324"/>
                    </a:moveTo>
                    <a:lnTo>
                      <a:pt x="433" y="324"/>
                    </a:lnTo>
                    <a:lnTo>
                      <a:pt x="427" y="324"/>
                    </a:lnTo>
                    <a:lnTo>
                      <a:pt x="427" y="312"/>
                    </a:lnTo>
                    <a:cubicBezTo>
                      <a:pt x="427" y="311"/>
                      <a:pt x="427" y="309"/>
                      <a:pt x="427" y="308"/>
                    </a:cubicBezTo>
                    <a:cubicBezTo>
                      <a:pt x="427" y="309"/>
                      <a:pt x="426" y="309"/>
                      <a:pt x="426" y="310"/>
                    </a:cubicBezTo>
                    <a:lnTo>
                      <a:pt x="423" y="312"/>
                    </a:lnTo>
                    <a:lnTo>
                      <a:pt x="420" y="308"/>
                    </a:lnTo>
                    <a:lnTo>
                      <a:pt x="428" y="302"/>
                    </a:lnTo>
                    <a:lnTo>
                      <a:pt x="433" y="302"/>
                    </a:lnTo>
                    <a:lnTo>
                      <a:pt x="433" y="324"/>
                    </a:lnTo>
                    <a:lnTo>
                      <a:pt x="433" y="324"/>
                    </a:lnTo>
                    <a:close/>
                    <a:moveTo>
                      <a:pt x="436" y="360"/>
                    </a:moveTo>
                    <a:lnTo>
                      <a:pt x="436" y="360"/>
                    </a:lnTo>
                    <a:cubicBezTo>
                      <a:pt x="436" y="364"/>
                      <a:pt x="435" y="367"/>
                      <a:pt x="434" y="369"/>
                    </a:cubicBezTo>
                    <a:cubicBezTo>
                      <a:pt x="432" y="370"/>
                      <a:pt x="431" y="371"/>
                      <a:pt x="428" y="371"/>
                    </a:cubicBezTo>
                    <a:cubicBezTo>
                      <a:pt x="425" y="371"/>
                      <a:pt x="423" y="370"/>
                      <a:pt x="422" y="368"/>
                    </a:cubicBezTo>
                    <a:cubicBezTo>
                      <a:pt x="421" y="367"/>
                      <a:pt x="420" y="364"/>
                      <a:pt x="420" y="360"/>
                    </a:cubicBezTo>
                    <a:cubicBezTo>
                      <a:pt x="420" y="356"/>
                      <a:pt x="421" y="353"/>
                      <a:pt x="422" y="351"/>
                    </a:cubicBezTo>
                    <a:cubicBezTo>
                      <a:pt x="423" y="350"/>
                      <a:pt x="425" y="349"/>
                      <a:pt x="428" y="349"/>
                    </a:cubicBezTo>
                    <a:cubicBezTo>
                      <a:pt x="430" y="349"/>
                      <a:pt x="432" y="350"/>
                      <a:pt x="434" y="352"/>
                    </a:cubicBezTo>
                    <a:cubicBezTo>
                      <a:pt x="435" y="353"/>
                      <a:pt x="436" y="356"/>
                      <a:pt x="436" y="360"/>
                    </a:cubicBezTo>
                    <a:close/>
                    <a:moveTo>
                      <a:pt x="454" y="313"/>
                    </a:moveTo>
                    <a:lnTo>
                      <a:pt x="454" y="313"/>
                    </a:lnTo>
                    <a:cubicBezTo>
                      <a:pt x="454" y="317"/>
                      <a:pt x="453" y="319"/>
                      <a:pt x="452" y="321"/>
                    </a:cubicBezTo>
                    <a:cubicBezTo>
                      <a:pt x="451" y="323"/>
                      <a:pt x="449" y="324"/>
                      <a:pt x="446" y="324"/>
                    </a:cubicBezTo>
                    <a:cubicBezTo>
                      <a:pt x="443" y="324"/>
                      <a:pt x="441" y="323"/>
                      <a:pt x="440" y="321"/>
                    </a:cubicBezTo>
                    <a:cubicBezTo>
                      <a:pt x="439" y="319"/>
                      <a:pt x="438" y="316"/>
                      <a:pt x="438" y="313"/>
                    </a:cubicBezTo>
                    <a:cubicBezTo>
                      <a:pt x="438" y="309"/>
                      <a:pt x="439" y="306"/>
                      <a:pt x="440" y="304"/>
                    </a:cubicBezTo>
                    <a:cubicBezTo>
                      <a:pt x="441" y="302"/>
                      <a:pt x="443" y="301"/>
                      <a:pt x="446" y="301"/>
                    </a:cubicBezTo>
                    <a:cubicBezTo>
                      <a:pt x="448" y="301"/>
                      <a:pt x="450" y="302"/>
                      <a:pt x="452" y="304"/>
                    </a:cubicBezTo>
                    <a:cubicBezTo>
                      <a:pt x="453" y="306"/>
                      <a:pt x="454" y="309"/>
                      <a:pt x="454" y="313"/>
                    </a:cubicBezTo>
                    <a:close/>
                    <a:moveTo>
                      <a:pt x="472" y="313"/>
                    </a:moveTo>
                    <a:lnTo>
                      <a:pt x="472" y="313"/>
                    </a:lnTo>
                    <a:cubicBezTo>
                      <a:pt x="472" y="317"/>
                      <a:pt x="471" y="319"/>
                      <a:pt x="470" y="321"/>
                    </a:cubicBezTo>
                    <a:cubicBezTo>
                      <a:pt x="469" y="323"/>
                      <a:pt x="467" y="324"/>
                      <a:pt x="464" y="324"/>
                    </a:cubicBezTo>
                    <a:cubicBezTo>
                      <a:pt x="461" y="324"/>
                      <a:pt x="459" y="323"/>
                      <a:pt x="458" y="321"/>
                    </a:cubicBezTo>
                    <a:cubicBezTo>
                      <a:pt x="457" y="319"/>
                      <a:pt x="456" y="316"/>
                      <a:pt x="456" y="313"/>
                    </a:cubicBezTo>
                    <a:cubicBezTo>
                      <a:pt x="456" y="309"/>
                      <a:pt x="457" y="306"/>
                      <a:pt x="458" y="304"/>
                    </a:cubicBezTo>
                    <a:cubicBezTo>
                      <a:pt x="459" y="302"/>
                      <a:pt x="461" y="301"/>
                      <a:pt x="464" y="301"/>
                    </a:cubicBezTo>
                    <a:cubicBezTo>
                      <a:pt x="467" y="301"/>
                      <a:pt x="469" y="302"/>
                      <a:pt x="470" y="304"/>
                    </a:cubicBezTo>
                    <a:cubicBezTo>
                      <a:pt x="471" y="306"/>
                      <a:pt x="472" y="309"/>
                      <a:pt x="472" y="313"/>
                    </a:cubicBezTo>
                    <a:close/>
                    <a:moveTo>
                      <a:pt x="472" y="360"/>
                    </a:moveTo>
                    <a:lnTo>
                      <a:pt x="472" y="360"/>
                    </a:lnTo>
                    <a:cubicBezTo>
                      <a:pt x="472" y="364"/>
                      <a:pt x="471" y="367"/>
                      <a:pt x="470" y="369"/>
                    </a:cubicBezTo>
                    <a:cubicBezTo>
                      <a:pt x="469" y="370"/>
                      <a:pt x="467" y="371"/>
                      <a:pt x="464" y="371"/>
                    </a:cubicBezTo>
                    <a:cubicBezTo>
                      <a:pt x="461" y="371"/>
                      <a:pt x="459" y="370"/>
                      <a:pt x="458" y="368"/>
                    </a:cubicBezTo>
                    <a:cubicBezTo>
                      <a:pt x="457" y="367"/>
                      <a:pt x="456" y="364"/>
                      <a:pt x="456" y="360"/>
                    </a:cubicBezTo>
                    <a:cubicBezTo>
                      <a:pt x="456" y="356"/>
                      <a:pt x="457" y="353"/>
                      <a:pt x="458" y="351"/>
                    </a:cubicBezTo>
                    <a:cubicBezTo>
                      <a:pt x="459" y="350"/>
                      <a:pt x="461" y="349"/>
                      <a:pt x="464" y="349"/>
                    </a:cubicBezTo>
                    <a:cubicBezTo>
                      <a:pt x="467" y="349"/>
                      <a:pt x="469" y="350"/>
                      <a:pt x="470" y="352"/>
                    </a:cubicBezTo>
                    <a:cubicBezTo>
                      <a:pt x="471" y="353"/>
                      <a:pt x="472" y="356"/>
                      <a:pt x="472" y="360"/>
                    </a:cubicBezTo>
                    <a:close/>
                    <a:moveTo>
                      <a:pt x="487" y="324"/>
                    </a:moveTo>
                    <a:lnTo>
                      <a:pt x="487" y="324"/>
                    </a:lnTo>
                    <a:lnTo>
                      <a:pt x="481" y="324"/>
                    </a:lnTo>
                    <a:lnTo>
                      <a:pt x="481" y="312"/>
                    </a:lnTo>
                    <a:cubicBezTo>
                      <a:pt x="481" y="311"/>
                      <a:pt x="481" y="309"/>
                      <a:pt x="481" y="308"/>
                    </a:cubicBezTo>
                    <a:cubicBezTo>
                      <a:pt x="481" y="309"/>
                      <a:pt x="480" y="309"/>
                      <a:pt x="480" y="310"/>
                    </a:cubicBezTo>
                    <a:lnTo>
                      <a:pt x="477" y="312"/>
                    </a:lnTo>
                    <a:lnTo>
                      <a:pt x="474" y="308"/>
                    </a:lnTo>
                    <a:lnTo>
                      <a:pt x="482" y="302"/>
                    </a:lnTo>
                    <a:lnTo>
                      <a:pt x="487" y="302"/>
                    </a:lnTo>
                    <a:lnTo>
                      <a:pt x="487" y="324"/>
                    </a:lnTo>
                    <a:lnTo>
                      <a:pt x="487" y="324"/>
                    </a:lnTo>
                    <a:close/>
                    <a:moveTo>
                      <a:pt x="490" y="360"/>
                    </a:moveTo>
                    <a:lnTo>
                      <a:pt x="490" y="360"/>
                    </a:lnTo>
                    <a:cubicBezTo>
                      <a:pt x="490" y="364"/>
                      <a:pt x="489" y="367"/>
                      <a:pt x="488" y="369"/>
                    </a:cubicBezTo>
                    <a:cubicBezTo>
                      <a:pt x="487" y="370"/>
                      <a:pt x="485" y="371"/>
                      <a:pt x="482" y="371"/>
                    </a:cubicBezTo>
                    <a:cubicBezTo>
                      <a:pt x="479" y="371"/>
                      <a:pt x="477" y="370"/>
                      <a:pt x="476" y="368"/>
                    </a:cubicBezTo>
                    <a:cubicBezTo>
                      <a:pt x="475" y="367"/>
                      <a:pt x="474" y="364"/>
                      <a:pt x="474" y="360"/>
                    </a:cubicBezTo>
                    <a:cubicBezTo>
                      <a:pt x="474" y="356"/>
                      <a:pt x="475" y="353"/>
                      <a:pt x="476" y="351"/>
                    </a:cubicBezTo>
                    <a:cubicBezTo>
                      <a:pt x="477" y="350"/>
                      <a:pt x="479" y="349"/>
                      <a:pt x="482" y="349"/>
                    </a:cubicBezTo>
                    <a:cubicBezTo>
                      <a:pt x="485" y="349"/>
                      <a:pt x="487" y="350"/>
                      <a:pt x="488" y="352"/>
                    </a:cubicBezTo>
                    <a:cubicBezTo>
                      <a:pt x="489" y="353"/>
                      <a:pt x="490" y="356"/>
                      <a:pt x="490" y="360"/>
                    </a:cubicBezTo>
                    <a:close/>
                    <a:moveTo>
                      <a:pt x="490" y="407"/>
                    </a:moveTo>
                    <a:lnTo>
                      <a:pt x="490" y="407"/>
                    </a:lnTo>
                    <a:cubicBezTo>
                      <a:pt x="490" y="411"/>
                      <a:pt x="489" y="414"/>
                      <a:pt x="488" y="416"/>
                    </a:cubicBezTo>
                    <a:cubicBezTo>
                      <a:pt x="487" y="418"/>
                      <a:pt x="485" y="419"/>
                      <a:pt x="482" y="419"/>
                    </a:cubicBezTo>
                    <a:cubicBezTo>
                      <a:pt x="479" y="419"/>
                      <a:pt x="477" y="418"/>
                      <a:pt x="476" y="416"/>
                    </a:cubicBezTo>
                    <a:cubicBezTo>
                      <a:pt x="475" y="414"/>
                      <a:pt x="474" y="411"/>
                      <a:pt x="474" y="407"/>
                    </a:cubicBezTo>
                    <a:cubicBezTo>
                      <a:pt x="474" y="403"/>
                      <a:pt x="475" y="401"/>
                      <a:pt x="476" y="399"/>
                    </a:cubicBezTo>
                    <a:cubicBezTo>
                      <a:pt x="477" y="397"/>
                      <a:pt x="479" y="396"/>
                      <a:pt x="482" y="396"/>
                    </a:cubicBezTo>
                    <a:cubicBezTo>
                      <a:pt x="485" y="396"/>
                      <a:pt x="487" y="397"/>
                      <a:pt x="488" y="399"/>
                    </a:cubicBezTo>
                    <a:cubicBezTo>
                      <a:pt x="489" y="401"/>
                      <a:pt x="490" y="404"/>
                      <a:pt x="490" y="407"/>
                    </a:cubicBezTo>
                    <a:close/>
                    <a:moveTo>
                      <a:pt x="505" y="324"/>
                    </a:moveTo>
                    <a:lnTo>
                      <a:pt x="505" y="324"/>
                    </a:lnTo>
                    <a:lnTo>
                      <a:pt x="499" y="324"/>
                    </a:lnTo>
                    <a:lnTo>
                      <a:pt x="499" y="312"/>
                    </a:lnTo>
                    <a:cubicBezTo>
                      <a:pt x="499" y="311"/>
                      <a:pt x="499" y="309"/>
                      <a:pt x="499" y="308"/>
                    </a:cubicBezTo>
                    <a:cubicBezTo>
                      <a:pt x="499" y="309"/>
                      <a:pt x="498" y="309"/>
                      <a:pt x="498" y="310"/>
                    </a:cubicBezTo>
                    <a:lnTo>
                      <a:pt x="495" y="312"/>
                    </a:lnTo>
                    <a:lnTo>
                      <a:pt x="492" y="308"/>
                    </a:lnTo>
                    <a:lnTo>
                      <a:pt x="500" y="302"/>
                    </a:lnTo>
                    <a:lnTo>
                      <a:pt x="505" y="302"/>
                    </a:lnTo>
                    <a:lnTo>
                      <a:pt x="505" y="324"/>
                    </a:lnTo>
                    <a:lnTo>
                      <a:pt x="505" y="324"/>
                    </a:lnTo>
                    <a:close/>
                    <a:moveTo>
                      <a:pt x="505" y="371"/>
                    </a:moveTo>
                    <a:lnTo>
                      <a:pt x="505" y="371"/>
                    </a:lnTo>
                    <a:lnTo>
                      <a:pt x="499" y="371"/>
                    </a:lnTo>
                    <a:lnTo>
                      <a:pt x="499" y="359"/>
                    </a:lnTo>
                    <a:cubicBezTo>
                      <a:pt x="499" y="358"/>
                      <a:pt x="499" y="357"/>
                      <a:pt x="499" y="355"/>
                    </a:cubicBezTo>
                    <a:cubicBezTo>
                      <a:pt x="499" y="356"/>
                      <a:pt x="498" y="356"/>
                      <a:pt x="498" y="357"/>
                    </a:cubicBezTo>
                    <a:lnTo>
                      <a:pt x="495" y="359"/>
                    </a:lnTo>
                    <a:lnTo>
                      <a:pt x="492" y="355"/>
                    </a:lnTo>
                    <a:lnTo>
                      <a:pt x="500" y="349"/>
                    </a:lnTo>
                    <a:lnTo>
                      <a:pt x="505" y="349"/>
                    </a:lnTo>
                    <a:lnTo>
                      <a:pt x="505" y="371"/>
                    </a:lnTo>
                    <a:lnTo>
                      <a:pt x="505" y="371"/>
                    </a:lnTo>
                    <a:close/>
                    <a:moveTo>
                      <a:pt x="512" y="351"/>
                    </a:moveTo>
                    <a:lnTo>
                      <a:pt x="512" y="351"/>
                    </a:lnTo>
                    <a:cubicBezTo>
                      <a:pt x="513" y="350"/>
                      <a:pt x="515" y="349"/>
                      <a:pt x="518" y="349"/>
                    </a:cubicBezTo>
                    <a:cubicBezTo>
                      <a:pt x="521" y="349"/>
                      <a:pt x="523" y="350"/>
                      <a:pt x="524" y="352"/>
                    </a:cubicBezTo>
                    <a:cubicBezTo>
                      <a:pt x="525" y="353"/>
                      <a:pt x="526" y="356"/>
                      <a:pt x="526" y="360"/>
                    </a:cubicBezTo>
                    <a:cubicBezTo>
                      <a:pt x="526" y="364"/>
                      <a:pt x="525" y="367"/>
                      <a:pt x="524" y="369"/>
                    </a:cubicBezTo>
                    <a:cubicBezTo>
                      <a:pt x="523" y="370"/>
                      <a:pt x="521" y="371"/>
                      <a:pt x="518" y="371"/>
                    </a:cubicBezTo>
                    <a:cubicBezTo>
                      <a:pt x="515" y="371"/>
                      <a:pt x="514" y="370"/>
                      <a:pt x="512" y="368"/>
                    </a:cubicBezTo>
                    <a:cubicBezTo>
                      <a:pt x="511" y="367"/>
                      <a:pt x="510" y="364"/>
                      <a:pt x="510" y="360"/>
                    </a:cubicBezTo>
                    <a:cubicBezTo>
                      <a:pt x="510" y="356"/>
                      <a:pt x="511" y="353"/>
                      <a:pt x="512" y="351"/>
                    </a:cubicBezTo>
                    <a:close/>
                    <a:moveTo>
                      <a:pt x="518" y="353"/>
                    </a:moveTo>
                    <a:lnTo>
                      <a:pt x="518" y="353"/>
                    </a:lnTo>
                    <a:cubicBezTo>
                      <a:pt x="517" y="353"/>
                      <a:pt x="517" y="354"/>
                      <a:pt x="517" y="355"/>
                    </a:cubicBezTo>
                    <a:cubicBezTo>
                      <a:pt x="516" y="356"/>
                      <a:pt x="516" y="358"/>
                      <a:pt x="516" y="360"/>
                    </a:cubicBezTo>
                    <a:cubicBezTo>
                      <a:pt x="516" y="363"/>
                      <a:pt x="516" y="364"/>
                      <a:pt x="517" y="365"/>
                    </a:cubicBezTo>
                    <a:cubicBezTo>
                      <a:pt x="517" y="366"/>
                      <a:pt x="517" y="367"/>
                      <a:pt x="518" y="367"/>
                    </a:cubicBezTo>
                    <a:cubicBezTo>
                      <a:pt x="519" y="367"/>
                      <a:pt x="519" y="366"/>
                      <a:pt x="520" y="365"/>
                    </a:cubicBezTo>
                    <a:cubicBezTo>
                      <a:pt x="520" y="364"/>
                      <a:pt x="520" y="362"/>
                      <a:pt x="520" y="360"/>
                    </a:cubicBezTo>
                    <a:cubicBezTo>
                      <a:pt x="520" y="358"/>
                      <a:pt x="520" y="356"/>
                      <a:pt x="520" y="355"/>
                    </a:cubicBezTo>
                    <a:cubicBezTo>
                      <a:pt x="519" y="354"/>
                      <a:pt x="519" y="353"/>
                      <a:pt x="518" y="353"/>
                    </a:cubicBezTo>
                    <a:close/>
                    <a:moveTo>
                      <a:pt x="484" y="412"/>
                    </a:moveTo>
                    <a:lnTo>
                      <a:pt x="484" y="412"/>
                    </a:lnTo>
                    <a:cubicBezTo>
                      <a:pt x="484" y="411"/>
                      <a:pt x="484" y="410"/>
                      <a:pt x="484" y="407"/>
                    </a:cubicBezTo>
                    <a:cubicBezTo>
                      <a:pt x="484" y="405"/>
                      <a:pt x="484" y="403"/>
                      <a:pt x="484" y="402"/>
                    </a:cubicBezTo>
                    <a:cubicBezTo>
                      <a:pt x="483" y="401"/>
                      <a:pt x="483" y="401"/>
                      <a:pt x="482" y="401"/>
                    </a:cubicBezTo>
                    <a:cubicBezTo>
                      <a:pt x="481" y="401"/>
                      <a:pt x="481" y="401"/>
                      <a:pt x="480" y="402"/>
                    </a:cubicBezTo>
                    <a:cubicBezTo>
                      <a:pt x="480" y="403"/>
                      <a:pt x="480" y="405"/>
                      <a:pt x="480" y="407"/>
                    </a:cubicBezTo>
                    <a:cubicBezTo>
                      <a:pt x="480" y="410"/>
                      <a:pt x="480" y="412"/>
                      <a:pt x="480" y="412"/>
                    </a:cubicBezTo>
                    <a:cubicBezTo>
                      <a:pt x="481" y="413"/>
                      <a:pt x="481" y="414"/>
                      <a:pt x="482" y="414"/>
                    </a:cubicBezTo>
                    <a:cubicBezTo>
                      <a:pt x="483" y="414"/>
                      <a:pt x="483" y="413"/>
                      <a:pt x="484" y="412"/>
                    </a:cubicBezTo>
                    <a:close/>
                    <a:moveTo>
                      <a:pt x="484" y="365"/>
                    </a:moveTo>
                    <a:lnTo>
                      <a:pt x="484" y="365"/>
                    </a:lnTo>
                    <a:cubicBezTo>
                      <a:pt x="484" y="364"/>
                      <a:pt x="484" y="362"/>
                      <a:pt x="484" y="360"/>
                    </a:cubicBezTo>
                    <a:cubicBezTo>
                      <a:pt x="484" y="358"/>
                      <a:pt x="484" y="356"/>
                      <a:pt x="484" y="355"/>
                    </a:cubicBezTo>
                    <a:cubicBezTo>
                      <a:pt x="483" y="354"/>
                      <a:pt x="483" y="353"/>
                      <a:pt x="482" y="353"/>
                    </a:cubicBezTo>
                    <a:cubicBezTo>
                      <a:pt x="481" y="353"/>
                      <a:pt x="481" y="354"/>
                      <a:pt x="480" y="355"/>
                    </a:cubicBezTo>
                    <a:cubicBezTo>
                      <a:pt x="480" y="356"/>
                      <a:pt x="480" y="358"/>
                      <a:pt x="480" y="360"/>
                    </a:cubicBezTo>
                    <a:cubicBezTo>
                      <a:pt x="480" y="363"/>
                      <a:pt x="480" y="364"/>
                      <a:pt x="480" y="365"/>
                    </a:cubicBezTo>
                    <a:cubicBezTo>
                      <a:pt x="481" y="366"/>
                      <a:pt x="481" y="367"/>
                      <a:pt x="482" y="367"/>
                    </a:cubicBezTo>
                    <a:cubicBezTo>
                      <a:pt x="483" y="367"/>
                      <a:pt x="483" y="366"/>
                      <a:pt x="484" y="365"/>
                    </a:cubicBezTo>
                    <a:close/>
                    <a:moveTo>
                      <a:pt x="466" y="365"/>
                    </a:moveTo>
                    <a:lnTo>
                      <a:pt x="466" y="365"/>
                    </a:lnTo>
                    <a:cubicBezTo>
                      <a:pt x="466" y="364"/>
                      <a:pt x="466" y="362"/>
                      <a:pt x="466" y="360"/>
                    </a:cubicBezTo>
                    <a:cubicBezTo>
                      <a:pt x="466" y="358"/>
                      <a:pt x="466" y="356"/>
                      <a:pt x="466" y="355"/>
                    </a:cubicBezTo>
                    <a:cubicBezTo>
                      <a:pt x="465" y="354"/>
                      <a:pt x="465" y="353"/>
                      <a:pt x="464" y="353"/>
                    </a:cubicBezTo>
                    <a:cubicBezTo>
                      <a:pt x="463" y="353"/>
                      <a:pt x="463" y="354"/>
                      <a:pt x="462" y="355"/>
                    </a:cubicBezTo>
                    <a:cubicBezTo>
                      <a:pt x="462" y="356"/>
                      <a:pt x="462" y="358"/>
                      <a:pt x="462" y="360"/>
                    </a:cubicBezTo>
                    <a:cubicBezTo>
                      <a:pt x="462" y="363"/>
                      <a:pt x="462" y="364"/>
                      <a:pt x="462" y="365"/>
                    </a:cubicBezTo>
                    <a:cubicBezTo>
                      <a:pt x="463" y="366"/>
                      <a:pt x="463" y="367"/>
                      <a:pt x="464" y="367"/>
                    </a:cubicBezTo>
                    <a:cubicBezTo>
                      <a:pt x="465" y="367"/>
                      <a:pt x="465" y="366"/>
                      <a:pt x="466" y="365"/>
                    </a:cubicBezTo>
                    <a:close/>
                    <a:moveTo>
                      <a:pt x="466" y="318"/>
                    </a:moveTo>
                    <a:lnTo>
                      <a:pt x="466" y="318"/>
                    </a:lnTo>
                    <a:cubicBezTo>
                      <a:pt x="466" y="317"/>
                      <a:pt x="466" y="315"/>
                      <a:pt x="466" y="313"/>
                    </a:cubicBezTo>
                    <a:cubicBezTo>
                      <a:pt x="466" y="310"/>
                      <a:pt x="466" y="309"/>
                      <a:pt x="466" y="308"/>
                    </a:cubicBezTo>
                    <a:cubicBezTo>
                      <a:pt x="465" y="307"/>
                      <a:pt x="465" y="306"/>
                      <a:pt x="464" y="306"/>
                    </a:cubicBezTo>
                    <a:cubicBezTo>
                      <a:pt x="463" y="306"/>
                      <a:pt x="463" y="307"/>
                      <a:pt x="462" y="308"/>
                    </a:cubicBezTo>
                    <a:cubicBezTo>
                      <a:pt x="462" y="308"/>
                      <a:pt x="462" y="310"/>
                      <a:pt x="462" y="313"/>
                    </a:cubicBezTo>
                    <a:cubicBezTo>
                      <a:pt x="462" y="315"/>
                      <a:pt x="462" y="317"/>
                      <a:pt x="462" y="318"/>
                    </a:cubicBezTo>
                    <a:cubicBezTo>
                      <a:pt x="463" y="319"/>
                      <a:pt x="463" y="319"/>
                      <a:pt x="464" y="319"/>
                    </a:cubicBezTo>
                    <a:cubicBezTo>
                      <a:pt x="465" y="319"/>
                      <a:pt x="465" y="319"/>
                      <a:pt x="466" y="318"/>
                    </a:cubicBezTo>
                    <a:close/>
                    <a:moveTo>
                      <a:pt x="447" y="318"/>
                    </a:moveTo>
                    <a:lnTo>
                      <a:pt x="447" y="318"/>
                    </a:lnTo>
                    <a:cubicBezTo>
                      <a:pt x="448" y="317"/>
                      <a:pt x="448" y="315"/>
                      <a:pt x="448" y="313"/>
                    </a:cubicBezTo>
                    <a:cubicBezTo>
                      <a:pt x="448" y="310"/>
                      <a:pt x="448" y="309"/>
                      <a:pt x="447" y="308"/>
                    </a:cubicBezTo>
                    <a:cubicBezTo>
                      <a:pt x="447" y="307"/>
                      <a:pt x="447" y="306"/>
                      <a:pt x="446" y="306"/>
                    </a:cubicBezTo>
                    <a:cubicBezTo>
                      <a:pt x="445" y="306"/>
                      <a:pt x="445" y="307"/>
                      <a:pt x="444" y="308"/>
                    </a:cubicBezTo>
                    <a:cubicBezTo>
                      <a:pt x="444" y="308"/>
                      <a:pt x="444" y="310"/>
                      <a:pt x="444" y="313"/>
                    </a:cubicBezTo>
                    <a:cubicBezTo>
                      <a:pt x="444" y="315"/>
                      <a:pt x="444" y="317"/>
                      <a:pt x="444" y="318"/>
                    </a:cubicBezTo>
                    <a:cubicBezTo>
                      <a:pt x="445" y="319"/>
                      <a:pt x="445" y="319"/>
                      <a:pt x="446" y="319"/>
                    </a:cubicBezTo>
                    <a:cubicBezTo>
                      <a:pt x="447" y="319"/>
                      <a:pt x="447" y="319"/>
                      <a:pt x="447" y="318"/>
                    </a:cubicBezTo>
                    <a:close/>
                    <a:moveTo>
                      <a:pt x="429" y="365"/>
                    </a:moveTo>
                    <a:lnTo>
                      <a:pt x="429" y="365"/>
                    </a:lnTo>
                    <a:cubicBezTo>
                      <a:pt x="430" y="364"/>
                      <a:pt x="430" y="362"/>
                      <a:pt x="430" y="360"/>
                    </a:cubicBezTo>
                    <a:cubicBezTo>
                      <a:pt x="430" y="358"/>
                      <a:pt x="430" y="356"/>
                      <a:pt x="429" y="355"/>
                    </a:cubicBezTo>
                    <a:cubicBezTo>
                      <a:pt x="429" y="354"/>
                      <a:pt x="429" y="353"/>
                      <a:pt x="428" y="353"/>
                    </a:cubicBezTo>
                    <a:cubicBezTo>
                      <a:pt x="427" y="353"/>
                      <a:pt x="427" y="354"/>
                      <a:pt x="426" y="355"/>
                    </a:cubicBezTo>
                    <a:cubicBezTo>
                      <a:pt x="426" y="356"/>
                      <a:pt x="426" y="358"/>
                      <a:pt x="426" y="360"/>
                    </a:cubicBezTo>
                    <a:cubicBezTo>
                      <a:pt x="426" y="363"/>
                      <a:pt x="426" y="364"/>
                      <a:pt x="426" y="365"/>
                    </a:cubicBezTo>
                    <a:cubicBezTo>
                      <a:pt x="427" y="366"/>
                      <a:pt x="427" y="367"/>
                      <a:pt x="428" y="367"/>
                    </a:cubicBezTo>
                    <a:cubicBezTo>
                      <a:pt x="429" y="367"/>
                      <a:pt x="429" y="366"/>
                      <a:pt x="429" y="365"/>
                    </a:cubicBezTo>
                    <a:close/>
                    <a:moveTo>
                      <a:pt x="411" y="412"/>
                    </a:moveTo>
                    <a:lnTo>
                      <a:pt x="411" y="412"/>
                    </a:lnTo>
                    <a:cubicBezTo>
                      <a:pt x="412" y="411"/>
                      <a:pt x="412" y="410"/>
                      <a:pt x="412" y="407"/>
                    </a:cubicBezTo>
                    <a:cubicBezTo>
                      <a:pt x="412" y="405"/>
                      <a:pt x="412" y="403"/>
                      <a:pt x="411" y="402"/>
                    </a:cubicBezTo>
                    <a:cubicBezTo>
                      <a:pt x="411" y="401"/>
                      <a:pt x="410" y="401"/>
                      <a:pt x="410" y="401"/>
                    </a:cubicBezTo>
                    <a:cubicBezTo>
                      <a:pt x="409" y="401"/>
                      <a:pt x="409" y="401"/>
                      <a:pt x="408" y="402"/>
                    </a:cubicBezTo>
                    <a:cubicBezTo>
                      <a:pt x="408" y="403"/>
                      <a:pt x="408" y="405"/>
                      <a:pt x="408" y="407"/>
                    </a:cubicBezTo>
                    <a:cubicBezTo>
                      <a:pt x="408" y="410"/>
                      <a:pt x="408" y="412"/>
                      <a:pt x="408" y="412"/>
                    </a:cubicBezTo>
                    <a:cubicBezTo>
                      <a:pt x="409" y="413"/>
                      <a:pt x="409" y="414"/>
                      <a:pt x="410" y="414"/>
                    </a:cubicBezTo>
                    <a:cubicBezTo>
                      <a:pt x="410" y="414"/>
                      <a:pt x="411" y="413"/>
                      <a:pt x="411" y="412"/>
                    </a:cubicBezTo>
                    <a:close/>
                    <a:moveTo>
                      <a:pt x="411" y="318"/>
                    </a:moveTo>
                    <a:lnTo>
                      <a:pt x="411" y="318"/>
                    </a:lnTo>
                    <a:cubicBezTo>
                      <a:pt x="412" y="317"/>
                      <a:pt x="412" y="315"/>
                      <a:pt x="412" y="313"/>
                    </a:cubicBezTo>
                    <a:cubicBezTo>
                      <a:pt x="412" y="310"/>
                      <a:pt x="412" y="309"/>
                      <a:pt x="411" y="308"/>
                    </a:cubicBezTo>
                    <a:cubicBezTo>
                      <a:pt x="411" y="307"/>
                      <a:pt x="410" y="306"/>
                      <a:pt x="410" y="306"/>
                    </a:cubicBezTo>
                    <a:cubicBezTo>
                      <a:pt x="409" y="306"/>
                      <a:pt x="409" y="307"/>
                      <a:pt x="408" y="308"/>
                    </a:cubicBezTo>
                    <a:cubicBezTo>
                      <a:pt x="408" y="308"/>
                      <a:pt x="408" y="310"/>
                      <a:pt x="408" y="313"/>
                    </a:cubicBezTo>
                    <a:cubicBezTo>
                      <a:pt x="408" y="315"/>
                      <a:pt x="408" y="317"/>
                      <a:pt x="408" y="318"/>
                    </a:cubicBezTo>
                    <a:cubicBezTo>
                      <a:pt x="409" y="319"/>
                      <a:pt x="409" y="319"/>
                      <a:pt x="410" y="319"/>
                    </a:cubicBezTo>
                    <a:cubicBezTo>
                      <a:pt x="410" y="319"/>
                      <a:pt x="411" y="319"/>
                      <a:pt x="411" y="318"/>
                    </a:cubicBezTo>
                    <a:close/>
                    <a:moveTo>
                      <a:pt x="393" y="365"/>
                    </a:moveTo>
                    <a:lnTo>
                      <a:pt x="393" y="365"/>
                    </a:lnTo>
                    <a:cubicBezTo>
                      <a:pt x="394" y="364"/>
                      <a:pt x="394" y="362"/>
                      <a:pt x="394" y="360"/>
                    </a:cubicBezTo>
                    <a:cubicBezTo>
                      <a:pt x="394" y="358"/>
                      <a:pt x="394" y="356"/>
                      <a:pt x="393" y="355"/>
                    </a:cubicBezTo>
                    <a:cubicBezTo>
                      <a:pt x="393" y="354"/>
                      <a:pt x="392" y="353"/>
                      <a:pt x="392" y="353"/>
                    </a:cubicBezTo>
                    <a:cubicBezTo>
                      <a:pt x="391" y="353"/>
                      <a:pt x="390" y="354"/>
                      <a:pt x="390" y="355"/>
                    </a:cubicBezTo>
                    <a:cubicBezTo>
                      <a:pt x="390" y="356"/>
                      <a:pt x="390" y="358"/>
                      <a:pt x="390" y="360"/>
                    </a:cubicBezTo>
                    <a:cubicBezTo>
                      <a:pt x="390" y="363"/>
                      <a:pt x="390" y="364"/>
                      <a:pt x="390" y="365"/>
                    </a:cubicBezTo>
                    <a:cubicBezTo>
                      <a:pt x="390" y="366"/>
                      <a:pt x="391" y="367"/>
                      <a:pt x="392" y="367"/>
                    </a:cubicBezTo>
                    <a:cubicBezTo>
                      <a:pt x="392" y="367"/>
                      <a:pt x="393" y="366"/>
                      <a:pt x="393" y="365"/>
                    </a:cubicBezTo>
                    <a:close/>
                  </a:path>
                </a:pathLst>
              </a:custGeom>
              <a:solidFill>
                <a:srgbClr val="006DDA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ea typeface="+mn-ea"/>
                  <a:cs typeface="+mn-cs"/>
                </a:endParaRPr>
              </a:p>
            </p:txBody>
          </p:sp>
        </p:grpSp>
      </p:grpSp>
      <p:grpSp>
        <p:nvGrpSpPr>
          <p:cNvPr id="72" name="Group 71">
            <a:extLst>
              <a:ext uri="{FF2B5EF4-FFF2-40B4-BE49-F238E27FC236}">
                <a16:creationId xmlns:a16="http://schemas.microsoft.com/office/drawing/2014/main" id="{01644829-A467-DE46-877A-5B93167617A6}"/>
              </a:ext>
            </a:extLst>
          </p:cNvPr>
          <p:cNvGrpSpPr/>
          <p:nvPr/>
        </p:nvGrpSpPr>
        <p:grpSpPr>
          <a:xfrm>
            <a:off x="3844275" y="2264111"/>
            <a:ext cx="5195253" cy="665351"/>
            <a:chOff x="3844275" y="2647013"/>
            <a:chExt cx="5195253" cy="665351"/>
          </a:xfrm>
        </p:grpSpPr>
        <p:sp>
          <p:nvSpPr>
            <p:cNvPr id="58" name="Rectangle 57">
              <a:extLst>
                <a:ext uri="{FF2B5EF4-FFF2-40B4-BE49-F238E27FC236}">
                  <a16:creationId xmlns:a16="http://schemas.microsoft.com/office/drawing/2014/main" id="{3A1E0A03-C8AD-7BE4-83B0-8497E1729EFB}"/>
                </a:ext>
              </a:extLst>
            </p:cNvPr>
            <p:cNvSpPr/>
            <p:nvPr/>
          </p:nvSpPr>
          <p:spPr>
            <a:xfrm>
              <a:off x="4144908" y="2647013"/>
              <a:ext cx="4894620" cy="665351"/>
            </a:xfrm>
            <a:custGeom>
              <a:avLst/>
              <a:gdLst>
                <a:gd name="connsiteX0" fmla="*/ 0 w 4894620"/>
                <a:gd name="connsiteY0" fmla="*/ 0 h 665351"/>
                <a:gd name="connsiteX1" fmla="*/ 699231 w 4894620"/>
                <a:gd name="connsiteY1" fmla="*/ 0 h 665351"/>
                <a:gd name="connsiteX2" fmla="*/ 1349517 w 4894620"/>
                <a:gd name="connsiteY2" fmla="*/ 0 h 665351"/>
                <a:gd name="connsiteX3" fmla="*/ 2048748 w 4894620"/>
                <a:gd name="connsiteY3" fmla="*/ 0 h 665351"/>
                <a:gd name="connsiteX4" fmla="*/ 2747980 w 4894620"/>
                <a:gd name="connsiteY4" fmla="*/ 0 h 665351"/>
                <a:gd name="connsiteX5" fmla="*/ 3398265 w 4894620"/>
                <a:gd name="connsiteY5" fmla="*/ 0 h 665351"/>
                <a:gd name="connsiteX6" fmla="*/ 3999604 w 4894620"/>
                <a:gd name="connsiteY6" fmla="*/ 0 h 665351"/>
                <a:gd name="connsiteX7" fmla="*/ 4894620 w 4894620"/>
                <a:gd name="connsiteY7" fmla="*/ 0 h 665351"/>
                <a:gd name="connsiteX8" fmla="*/ 4894620 w 4894620"/>
                <a:gd name="connsiteY8" fmla="*/ 665351 h 665351"/>
                <a:gd name="connsiteX9" fmla="*/ 4146442 w 4894620"/>
                <a:gd name="connsiteY9" fmla="*/ 665351 h 665351"/>
                <a:gd name="connsiteX10" fmla="*/ 3349319 w 4894620"/>
                <a:gd name="connsiteY10" fmla="*/ 665351 h 665351"/>
                <a:gd name="connsiteX11" fmla="*/ 2601141 w 4894620"/>
                <a:gd name="connsiteY11" fmla="*/ 665351 h 665351"/>
                <a:gd name="connsiteX12" fmla="*/ 2048748 w 4894620"/>
                <a:gd name="connsiteY12" fmla="*/ 665351 h 665351"/>
                <a:gd name="connsiteX13" fmla="*/ 1349517 w 4894620"/>
                <a:gd name="connsiteY13" fmla="*/ 665351 h 665351"/>
                <a:gd name="connsiteX14" fmla="*/ 0 w 4894620"/>
                <a:gd name="connsiteY14" fmla="*/ 665351 h 665351"/>
                <a:gd name="connsiteX15" fmla="*/ 0 w 4894620"/>
                <a:gd name="connsiteY15" fmla="*/ 0 h 6653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894620" h="665351" fill="none" extrusionOk="0">
                  <a:moveTo>
                    <a:pt x="0" y="0"/>
                  </a:moveTo>
                  <a:cubicBezTo>
                    <a:pt x="158994" y="27663"/>
                    <a:pt x="550892" y="-19528"/>
                    <a:pt x="699231" y="0"/>
                  </a:cubicBezTo>
                  <a:cubicBezTo>
                    <a:pt x="847570" y="19528"/>
                    <a:pt x="1035633" y="-25545"/>
                    <a:pt x="1349517" y="0"/>
                  </a:cubicBezTo>
                  <a:cubicBezTo>
                    <a:pt x="1663401" y="25545"/>
                    <a:pt x="1761195" y="-32967"/>
                    <a:pt x="2048748" y="0"/>
                  </a:cubicBezTo>
                  <a:cubicBezTo>
                    <a:pt x="2336301" y="32967"/>
                    <a:pt x="2539774" y="48"/>
                    <a:pt x="2747980" y="0"/>
                  </a:cubicBezTo>
                  <a:cubicBezTo>
                    <a:pt x="2956186" y="-48"/>
                    <a:pt x="3189201" y="-24655"/>
                    <a:pt x="3398265" y="0"/>
                  </a:cubicBezTo>
                  <a:cubicBezTo>
                    <a:pt x="3607329" y="24655"/>
                    <a:pt x="3854394" y="8793"/>
                    <a:pt x="3999604" y="0"/>
                  </a:cubicBezTo>
                  <a:cubicBezTo>
                    <a:pt x="4144814" y="-8793"/>
                    <a:pt x="4490850" y="-16310"/>
                    <a:pt x="4894620" y="0"/>
                  </a:cubicBezTo>
                  <a:cubicBezTo>
                    <a:pt x="4889298" y="260242"/>
                    <a:pt x="4906645" y="417148"/>
                    <a:pt x="4894620" y="665351"/>
                  </a:cubicBezTo>
                  <a:cubicBezTo>
                    <a:pt x="4593017" y="646881"/>
                    <a:pt x="4391582" y="689911"/>
                    <a:pt x="4146442" y="665351"/>
                  </a:cubicBezTo>
                  <a:cubicBezTo>
                    <a:pt x="3901302" y="640791"/>
                    <a:pt x="3533473" y="676964"/>
                    <a:pt x="3349319" y="665351"/>
                  </a:cubicBezTo>
                  <a:cubicBezTo>
                    <a:pt x="3165165" y="653738"/>
                    <a:pt x="2878860" y="637876"/>
                    <a:pt x="2601141" y="665351"/>
                  </a:cubicBezTo>
                  <a:cubicBezTo>
                    <a:pt x="2323422" y="692826"/>
                    <a:pt x="2219020" y="658402"/>
                    <a:pt x="2048748" y="665351"/>
                  </a:cubicBezTo>
                  <a:cubicBezTo>
                    <a:pt x="1878476" y="672300"/>
                    <a:pt x="1532114" y="651170"/>
                    <a:pt x="1349517" y="665351"/>
                  </a:cubicBezTo>
                  <a:cubicBezTo>
                    <a:pt x="1166920" y="679532"/>
                    <a:pt x="372831" y="704880"/>
                    <a:pt x="0" y="665351"/>
                  </a:cubicBezTo>
                  <a:cubicBezTo>
                    <a:pt x="-12249" y="483921"/>
                    <a:pt x="-12154" y="223401"/>
                    <a:pt x="0" y="0"/>
                  </a:cubicBezTo>
                  <a:close/>
                </a:path>
                <a:path w="4894620" h="665351" stroke="0" extrusionOk="0">
                  <a:moveTo>
                    <a:pt x="0" y="0"/>
                  </a:moveTo>
                  <a:cubicBezTo>
                    <a:pt x="278564" y="7826"/>
                    <a:pt x="313661" y="-6347"/>
                    <a:pt x="601339" y="0"/>
                  </a:cubicBezTo>
                  <a:cubicBezTo>
                    <a:pt x="889017" y="6347"/>
                    <a:pt x="966344" y="-27265"/>
                    <a:pt x="1202678" y="0"/>
                  </a:cubicBezTo>
                  <a:cubicBezTo>
                    <a:pt x="1439012" y="27265"/>
                    <a:pt x="1591056" y="-1198"/>
                    <a:pt x="1804017" y="0"/>
                  </a:cubicBezTo>
                  <a:cubicBezTo>
                    <a:pt x="2016978" y="1198"/>
                    <a:pt x="2346376" y="26505"/>
                    <a:pt x="2552195" y="0"/>
                  </a:cubicBezTo>
                  <a:cubicBezTo>
                    <a:pt x="2758014" y="-26505"/>
                    <a:pt x="2982226" y="-4621"/>
                    <a:pt x="3349319" y="0"/>
                  </a:cubicBezTo>
                  <a:cubicBezTo>
                    <a:pt x="3716412" y="4621"/>
                    <a:pt x="3717467" y="-23199"/>
                    <a:pt x="3901711" y="0"/>
                  </a:cubicBezTo>
                  <a:cubicBezTo>
                    <a:pt x="4085955" y="23199"/>
                    <a:pt x="4639453" y="16266"/>
                    <a:pt x="4894620" y="0"/>
                  </a:cubicBezTo>
                  <a:cubicBezTo>
                    <a:pt x="4869752" y="303038"/>
                    <a:pt x="4873201" y="500648"/>
                    <a:pt x="4894620" y="665351"/>
                  </a:cubicBezTo>
                  <a:cubicBezTo>
                    <a:pt x="4682372" y="697480"/>
                    <a:pt x="4308214" y="672179"/>
                    <a:pt x="4146442" y="665351"/>
                  </a:cubicBezTo>
                  <a:cubicBezTo>
                    <a:pt x="3984670" y="658523"/>
                    <a:pt x="3583358" y="633919"/>
                    <a:pt x="3349319" y="665351"/>
                  </a:cubicBezTo>
                  <a:cubicBezTo>
                    <a:pt x="3115280" y="696783"/>
                    <a:pt x="3008375" y="664276"/>
                    <a:pt x="2796926" y="665351"/>
                  </a:cubicBezTo>
                  <a:cubicBezTo>
                    <a:pt x="2585477" y="666426"/>
                    <a:pt x="2307948" y="672781"/>
                    <a:pt x="2097694" y="665351"/>
                  </a:cubicBezTo>
                  <a:cubicBezTo>
                    <a:pt x="1887440" y="657921"/>
                    <a:pt x="1779249" y="653268"/>
                    <a:pt x="1545301" y="665351"/>
                  </a:cubicBezTo>
                  <a:cubicBezTo>
                    <a:pt x="1311353" y="677434"/>
                    <a:pt x="1017844" y="656072"/>
                    <a:pt x="748178" y="665351"/>
                  </a:cubicBezTo>
                  <a:cubicBezTo>
                    <a:pt x="478512" y="674630"/>
                    <a:pt x="308414" y="633755"/>
                    <a:pt x="0" y="665351"/>
                  </a:cubicBezTo>
                  <a:cubicBezTo>
                    <a:pt x="-22124" y="351415"/>
                    <a:pt x="-18708" y="151187"/>
                    <a:pt x="0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solidFill>
                <a:schemeClr val="accent1">
                  <a:lumMod val="75000"/>
                  <a:lumOff val="25000"/>
                </a:schemeClr>
              </a:solidFill>
              <a:extLst>
                <a:ext uri="{C807C97D-BFC1-408E-A445-0C87EB9F89A2}">
                  <ask:lineSketchStyleProps xmlns:ask="http://schemas.microsoft.com/office/drawing/2018/sketchyshapes" sd="1178825138">
                    <a:prstGeom prst="rect">
                      <a:avLst/>
                    </a:prstGeom>
                    <ask:type>
                      <ask:lineSketchFreehand/>
                    </ask:type>
                  </ask:lineSketchStyleProps>
                </a:ext>
              </a:extLst>
            </a:ln>
            <a:effectLst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lIns="324000" rtlCol="0" anchor="ctr"/>
            <a:lstStyle/>
            <a:p>
              <a:r>
                <a:rPr lang="en-US" sz="1200" b="1" dirty="0">
                  <a:solidFill>
                    <a:schemeClr val="accent1"/>
                  </a:solidFill>
                </a:rPr>
                <a:t>Analysis </a:t>
              </a:r>
              <a:r>
                <a:rPr lang="en-US" sz="1200" dirty="0">
                  <a:solidFill>
                    <a:schemeClr val="accent1"/>
                  </a:solidFill>
                </a:rPr>
                <a:t>of customers' </a:t>
              </a:r>
              <a:r>
                <a:rPr lang="en-US" sz="1200" b="1" dirty="0">
                  <a:solidFill>
                    <a:schemeClr val="accent1"/>
                  </a:solidFill>
                </a:rPr>
                <a:t>driving style </a:t>
              </a:r>
              <a:r>
                <a:rPr lang="en-US" sz="1200" dirty="0">
                  <a:solidFill>
                    <a:schemeClr val="accent1"/>
                  </a:solidFill>
                </a:rPr>
                <a:t>to provide </a:t>
              </a:r>
              <a:r>
                <a:rPr lang="en-US" sz="1200" b="1" dirty="0">
                  <a:solidFill>
                    <a:schemeClr val="accent1"/>
                  </a:solidFill>
                </a:rPr>
                <a:t>recommendations </a:t>
              </a:r>
              <a:r>
                <a:rPr lang="en-US" sz="1200" dirty="0">
                  <a:solidFill>
                    <a:schemeClr val="accent1"/>
                  </a:solidFill>
                </a:rPr>
                <a:t>aimed at </a:t>
              </a:r>
              <a:r>
                <a:rPr lang="en-US" sz="1200" b="1" dirty="0">
                  <a:solidFill>
                    <a:schemeClr val="accent1"/>
                  </a:solidFill>
                </a:rPr>
                <a:t>reducing fuel consumption</a:t>
              </a:r>
            </a:p>
          </p:txBody>
        </p:sp>
        <p:grpSp>
          <p:nvGrpSpPr>
            <p:cNvPr id="59" name="Group 58">
              <a:extLst>
                <a:ext uri="{FF2B5EF4-FFF2-40B4-BE49-F238E27FC236}">
                  <a16:creationId xmlns:a16="http://schemas.microsoft.com/office/drawing/2014/main" id="{AF7C2CE9-5B11-995E-25C9-975A5D6B635E}"/>
                </a:ext>
              </a:extLst>
            </p:cNvPr>
            <p:cNvGrpSpPr/>
            <p:nvPr/>
          </p:nvGrpSpPr>
          <p:grpSpPr>
            <a:xfrm>
              <a:off x="3844275" y="2748434"/>
              <a:ext cx="462509" cy="462509"/>
              <a:chOff x="5131349" y="3775759"/>
              <a:chExt cx="615600" cy="615600"/>
            </a:xfrm>
          </p:grpSpPr>
          <p:sp>
            <p:nvSpPr>
              <p:cNvPr id="60" name="Oval 59">
                <a:extLst>
                  <a:ext uri="{FF2B5EF4-FFF2-40B4-BE49-F238E27FC236}">
                    <a16:creationId xmlns:a16="http://schemas.microsoft.com/office/drawing/2014/main" id="{56D12604-492F-82D3-745A-B68DF6A0C4C8}"/>
                  </a:ext>
                </a:extLst>
              </p:cNvPr>
              <p:cNvSpPr/>
              <p:nvPr/>
            </p:nvSpPr>
            <p:spPr>
              <a:xfrm>
                <a:off x="5131349" y="3775759"/>
                <a:ext cx="615600" cy="61560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endParaRPr lang="en-US" sz="16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61" name="Freeform 591">
                <a:extLst>
                  <a:ext uri="{FF2B5EF4-FFF2-40B4-BE49-F238E27FC236}">
                    <a16:creationId xmlns:a16="http://schemas.microsoft.com/office/drawing/2014/main" id="{F5DB1FB6-8524-6B9B-E859-C49C348612A7}"/>
                  </a:ext>
                </a:extLst>
              </p:cNvPr>
              <p:cNvSpPr>
                <a:spLocks noChangeAspect="1" noEditPoints="1"/>
              </p:cNvSpPr>
              <p:nvPr/>
            </p:nvSpPr>
            <p:spPr bwMode="auto">
              <a:xfrm>
                <a:off x="5131349" y="3775759"/>
                <a:ext cx="615600" cy="615600"/>
              </a:xfrm>
              <a:custGeom>
                <a:avLst/>
                <a:gdLst>
                  <a:gd name="T0" fmla="*/ 0 w 512"/>
                  <a:gd name="T1" fmla="*/ 256 h 512"/>
                  <a:gd name="T2" fmla="*/ 512 w 512"/>
                  <a:gd name="T3" fmla="*/ 256 h 512"/>
                  <a:gd name="T4" fmla="*/ 295 w 512"/>
                  <a:gd name="T5" fmla="*/ 202 h 512"/>
                  <a:gd name="T6" fmla="*/ 253 w 512"/>
                  <a:gd name="T7" fmla="*/ 138 h 512"/>
                  <a:gd name="T8" fmla="*/ 192 w 512"/>
                  <a:gd name="T9" fmla="*/ 222 h 512"/>
                  <a:gd name="T10" fmla="*/ 237 w 512"/>
                  <a:gd name="T11" fmla="*/ 121 h 512"/>
                  <a:gd name="T12" fmla="*/ 264 w 512"/>
                  <a:gd name="T13" fmla="*/ 117 h 512"/>
                  <a:gd name="T14" fmla="*/ 273 w 512"/>
                  <a:gd name="T15" fmla="*/ 122 h 512"/>
                  <a:gd name="T16" fmla="*/ 314 w 512"/>
                  <a:gd name="T17" fmla="*/ 174 h 512"/>
                  <a:gd name="T18" fmla="*/ 335 w 512"/>
                  <a:gd name="T19" fmla="*/ 177 h 512"/>
                  <a:gd name="T20" fmla="*/ 317 w 512"/>
                  <a:gd name="T21" fmla="*/ 227 h 512"/>
                  <a:gd name="T22" fmla="*/ 274 w 512"/>
                  <a:gd name="T23" fmla="*/ 220 h 512"/>
                  <a:gd name="T24" fmla="*/ 277 w 512"/>
                  <a:gd name="T25" fmla="*/ 199 h 512"/>
                  <a:gd name="T26" fmla="*/ 234 w 512"/>
                  <a:gd name="T27" fmla="*/ 362 h 512"/>
                  <a:gd name="T28" fmla="*/ 124 w 512"/>
                  <a:gd name="T29" fmla="*/ 373 h 512"/>
                  <a:gd name="T30" fmla="*/ 107 w 512"/>
                  <a:gd name="T31" fmla="*/ 354 h 512"/>
                  <a:gd name="T32" fmla="*/ 143 w 512"/>
                  <a:gd name="T33" fmla="*/ 280 h 512"/>
                  <a:gd name="T34" fmla="*/ 120 w 512"/>
                  <a:gd name="T35" fmla="*/ 277 h 512"/>
                  <a:gd name="T36" fmla="*/ 166 w 512"/>
                  <a:gd name="T37" fmla="*/ 249 h 512"/>
                  <a:gd name="T38" fmla="*/ 194 w 512"/>
                  <a:gd name="T39" fmla="*/ 295 h 512"/>
                  <a:gd name="T40" fmla="*/ 184 w 512"/>
                  <a:gd name="T41" fmla="*/ 309 h 512"/>
                  <a:gd name="T42" fmla="*/ 166 w 512"/>
                  <a:gd name="T43" fmla="*/ 283 h 512"/>
                  <a:gd name="T44" fmla="*/ 130 w 512"/>
                  <a:gd name="T45" fmla="*/ 352 h 512"/>
                  <a:gd name="T46" fmla="*/ 234 w 512"/>
                  <a:gd name="T47" fmla="*/ 362 h 512"/>
                  <a:gd name="T48" fmla="*/ 396 w 512"/>
                  <a:gd name="T49" fmla="*/ 368 h 512"/>
                  <a:gd name="T50" fmla="*/ 295 w 512"/>
                  <a:gd name="T51" fmla="*/ 373 h 512"/>
                  <a:gd name="T52" fmla="*/ 311 w 512"/>
                  <a:gd name="T53" fmla="*/ 404 h 512"/>
                  <a:gd name="T54" fmla="*/ 296 w 512"/>
                  <a:gd name="T55" fmla="*/ 404 h 512"/>
                  <a:gd name="T56" fmla="*/ 266 w 512"/>
                  <a:gd name="T57" fmla="*/ 359 h 512"/>
                  <a:gd name="T58" fmla="*/ 311 w 512"/>
                  <a:gd name="T59" fmla="*/ 330 h 512"/>
                  <a:gd name="T60" fmla="*/ 304 w 512"/>
                  <a:gd name="T61" fmla="*/ 352 h 512"/>
                  <a:gd name="T62" fmla="*/ 383 w 512"/>
                  <a:gd name="T63" fmla="*/ 348 h 512"/>
                  <a:gd name="T64" fmla="*/ 341 w 512"/>
                  <a:gd name="T65" fmla="*/ 254 h 512"/>
                  <a:gd name="T66" fmla="*/ 405 w 512"/>
                  <a:gd name="T67" fmla="*/ 343 h 5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512" h="512">
                    <a:moveTo>
                      <a:pt x="256" y="0"/>
                    </a:moveTo>
                    <a:cubicBezTo>
                      <a:pt x="114" y="0"/>
                      <a:pt x="0" y="114"/>
                      <a:pt x="0" y="256"/>
                    </a:cubicBezTo>
                    <a:cubicBezTo>
                      <a:pt x="0" y="397"/>
                      <a:pt x="114" y="512"/>
                      <a:pt x="256" y="512"/>
                    </a:cubicBezTo>
                    <a:cubicBezTo>
                      <a:pt x="397" y="512"/>
                      <a:pt x="512" y="397"/>
                      <a:pt x="512" y="256"/>
                    </a:cubicBezTo>
                    <a:cubicBezTo>
                      <a:pt x="512" y="114"/>
                      <a:pt x="397" y="0"/>
                      <a:pt x="256" y="0"/>
                    </a:cubicBezTo>
                    <a:close/>
                    <a:moveTo>
                      <a:pt x="295" y="202"/>
                    </a:moveTo>
                    <a:cubicBezTo>
                      <a:pt x="258" y="138"/>
                      <a:pt x="258" y="138"/>
                      <a:pt x="258" y="138"/>
                    </a:cubicBezTo>
                    <a:cubicBezTo>
                      <a:pt x="253" y="138"/>
                      <a:pt x="253" y="138"/>
                      <a:pt x="253" y="138"/>
                    </a:cubicBezTo>
                    <a:cubicBezTo>
                      <a:pt x="206" y="218"/>
                      <a:pt x="206" y="218"/>
                      <a:pt x="206" y="218"/>
                    </a:cubicBezTo>
                    <a:cubicBezTo>
                      <a:pt x="203" y="224"/>
                      <a:pt x="197" y="225"/>
                      <a:pt x="192" y="222"/>
                    </a:cubicBezTo>
                    <a:cubicBezTo>
                      <a:pt x="186" y="219"/>
                      <a:pt x="185" y="212"/>
                      <a:pt x="188" y="207"/>
                    </a:cubicBezTo>
                    <a:cubicBezTo>
                      <a:pt x="237" y="121"/>
                      <a:pt x="237" y="121"/>
                      <a:pt x="237" y="121"/>
                    </a:cubicBezTo>
                    <a:cubicBezTo>
                      <a:pt x="239" y="118"/>
                      <a:pt x="243" y="116"/>
                      <a:pt x="247" y="116"/>
                    </a:cubicBezTo>
                    <a:cubicBezTo>
                      <a:pt x="264" y="117"/>
                      <a:pt x="264" y="117"/>
                      <a:pt x="264" y="117"/>
                    </a:cubicBezTo>
                    <a:cubicBezTo>
                      <a:pt x="264" y="117"/>
                      <a:pt x="264" y="117"/>
                      <a:pt x="264" y="117"/>
                    </a:cubicBezTo>
                    <a:cubicBezTo>
                      <a:pt x="267" y="117"/>
                      <a:pt x="271" y="118"/>
                      <a:pt x="273" y="122"/>
                    </a:cubicBezTo>
                    <a:cubicBezTo>
                      <a:pt x="311" y="187"/>
                      <a:pt x="311" y="187"/>
                      <a:pt x="311" y="187"/>
                    </a:cubicBezTo>
                    <a:cubicBezTo>
                      <a:pt x="314" y="174"/>
                      <a:pt x="314" y="174"/>
                      <a:pt x="314" y="174"/>
                    </a:cubicBezTo>
                    <a:cubicBezTo>
                      <a:pt x="315" y="168"/>
                      <a:pt x="320" y="164"/>
                      <a:pt x="326" y="165"/>
                    </a:cubicBezTo>
                    <a:cubicBezTo>
                      <a:pt x="332" y="166"/>
                      <a:pt x="336" y="171"/>
                      <a:pt x="335" y="177"/>
                    </a:cubicBezTo>
                    <a:cubicBezTo>
                      <a:pt x="327" y="219"/>
                      <a:pt x="327" y="219"/>
                      <a:pt x="327" y="219"/>
                    </a:cubicBezTo>
                    <a:cubicBezTo>
                      <a:pt x="326" y="224"/>
                      <a:pt x="322" y="227"/>
                      <a:pt x="317" y="227"/>
                    </a:cubicBezTo>
                    <a:cubicBezTo>
                      <a:pt x="316" y="227"/>
                      <a:pt x="315" y="227"/>
                      <a:pt x="315" y="227"/>
                    </a:cubicBezTo>
                    <a:cubicBezTo>
                      <a:pt x="274" y="220"/>
                      <a:pt x="274" y="220"/>
                      <a:pt x="274" y="220"/>
                    </a:cubicBezTo>
                    <a:cubicBezTo>
                      <a:pt x="268" y="219"/>
                      <a:pt x="264" y="213"/>
                      <a:pt x="265" y="207"/>
                    </a:cubicBezTo>
                    <a:cubicBezTo>
                      <a:pt x="266" y="202"/>
                      <a:pt x="271" y="198"/>
                      <a:pt x="277" y="199"/>
                    </a:cubicBezTo>
                    <a:lnTo>
                      <a:pt x="295" y="202"/>
                    </a:lnTo>
                    <a:close/>
                    <a:moveTo>
                      <a:pt x="234" y="362"/>
                    </a:moveTo>
                    <a:cubicBezTo>
                      <a:pt x="234" y="368"/>
                      <a:pt x="230" y="373"/>
                      <a:pt x="224" y="373"/>
                    </a:cubicBezTo>
                    <a:cubicBezTo>
                      <a:pt x="124" y="373"/>
                      <a:pt x="124" y="373"/>
                      <a:pt x="124" y="373"/>
                    </a:cubicBezTo>
                    <a:cubicBezTo>
                      <a:pt x="121" y="373"/>
                      <a:pt x="117" y="371"/>
                      <a:pt x="115" y="368"/>
                    </a:cubicBezTo>
                    <a:cubicBezTo>
                      <a:pt x="107" y="354"/>
                      <a:pt x="107" y="354"/>
                      <a:pt x="107" y="354"/>
                    </a:cubicBezTo>
                    <a:cubicBezTo>
                      <a:pt x="105" y="351"/>
                      <a:pt x="105" y="347"/>
                      <a:pt x="107" y="343"/>
                    </a:cubicBezTo>
                    <a:cubicBezTo>
                      <a:pt x="143" y="280"/>
                      <a:pt x="143" y="280"/>
                      <a:pt x="143" y="280"/>
                    </a:cubicBezTo>
                    <a:cubicBezTo>
                      <a:pt x="134" y="283"/>
                      <a:pt x="134" y="283"/>
                      <a:pt x="134" y="283"/>
                    </a:cubicBezTo>
                    <a:cubicBezTo>
                      <a:pt x="128" y="285"/>
                      <a:pt x="122" y="282"/>
                      <a:pt x="120" y="277"/>
                    </a:cubicBezTo>
                    <a:cubicBezTo>
                      <a:pt x="118" y="271"/>
                      <a:pt x="121" y="265"/>
                      <a:pt x="126" y="263"/>
                    </a:cubicBezTo>
                    <a:cubicBezTo>
                      <a:pt x="166" y="249"/>
                      <a:pt x="166" y="249"/>
                      <a:pt x="166" y="249"/>
                    </a:cubicBezTo>
                    <a:cubicBezTo>
                      <a:pt x="171" y="247"/>
                      <a:pt x="178" y="250"/>
                      <a:pt x="180" y="256"/>
                    </a:cubicBezTo>
                    <a:cubicBezTo>
                      <a:pt x="194" y="295"/>
                      <a:pt x="194" y="295"/>
                      <a:pt x="194" y="295"/>
                    </a:cubicBezTo>
                    <a:cubicBezTo>
                      <a:pt x="196" y="301"/>
                      <a:pt x="193" y="307"/>
                      <a:pt x="187" y="309"/>
                    </a:cubicBezTo>
                    <a:cubicBezTo>
                      <a:pt x="186" y="309"/>
                      <a:pt x="185" y="309"/>
                      <a:pt x="184" y="309"/>
                    </a:cubicBezTo>
                    <a:cubicBezTo>
                      <a:pt x="179" y="309"/>
                      <a:pt x="175" y="307"/>
                      <a:pt x="174" y="302"/>
                    </a:cubicBezTo>
                    <a:cubicBezTo>
                      <a:pt x="166" y="283"/>
                      <a:pt x="166" y="283"/>
                      <a:pt x="166" y="283"/>
                    </a:cubicBezTo>
                    <a:cubicBezTo>
                      <a:pt x="128" y="348"/>
                      <a:pt x="128" y="348"/>
                      <a:pt x="128" y="348"/>
                    </a:cubicBezTo>
                    <a:cubicBezTo>
                      <a:pt x="130" y="352"/>
                      <a:pt x="130" y="352"/>
                      <a:pt x="130" y="352"/>
                    </a:cubicBezTo>
                    <a:cubicBezTo>
                      <a:pt x="224" y="352"/>
                      <a:pt x="224" y="352"/>
                      <a:pt x="224" y="352"/>
                    </a:cubicBezTo>
                    <a:cubicBezTo>
                      <a:pt x="230" y="352"/>
                      <a:pt x="234" y="356"/>
                      <a:pt x="234" y="362"/>
                    </a:cubicBezTo>
                    <a:close/>
                    <a:moveTo>
                      <a:pt x="405" y="354"/>
                    </a:moveTo>
                    <a:cubicBezTo>
                      <a:pt x="396" y="368"/>
                      <a:pt x="396" y="368"/>
                      <a:pt x="396" y="368"/>
                    </a:cubicBezTo>
                    <a:cubicBezTo>
                      <a:pt x="394" y="371"/>
                      <a:pt x="391" y="373"/>
                      <a:pt x="387" y="373"/>
                    </a:cubicBezTo>
                    <a:cubicBezTo>
                      <a:pt x="295" y="373"/>
                      <a:pt x="295" y="373"/>
                      <a:pt x="295" y="373"/>
                    </a:cubicBezTo>
                    <a:cubicBezTo>
                      <a:pt x="311" y="389"/>
                      <a:pt x="311" y="389"/>
                      <a:pt x="311" y="389"/>
                    </a:cubicBezTo>
                    <a:cubicBezTo>
                      <a:pt x="315" y="393"/>
                      <a:pt x="315" y="400"/>
                      <a:pt x="311" y="404"/>
                    </a:cubicBezTo>
                    <a:cubicBezTo>
                      <a:pt x="309" y="406"/>
                      <a:pt x="306" y="407"/>
                      <a:pt x="303" y="407"/>
                    </a:cubicBezTo>
                    <a:cubicBezTo>
                      <a:pt x="300" y="407"/>
                      <a:pt x="298" y="406"/>
                      <a:pt x="296" y="404"/>
                    </a:cubicBezTo>
                    <a:cubicBezTo>
                      <a:pt x="266" y="374"/>
                      <a:pt x="266" y="374"/>
                      <a:pt x="266" y="374"/>
                    </a:cubicBezTo>
                    <a:cubicBezTo>
                      <a:pt x="262" y="370"/>
                      <a:pt x="262" y="363"/>
                      <a:pt x="266" y="359"/>
                    </a:cubicBezTo>
                    <a:cubicBezTo>
                      <a:pt x="296" y="330"/>
                      <a:pt x="296" y="330"/>
                      <a:pt x="296" y="330"/>
                    </a:cubicBezTo>
                    <a:cubicBezTo>
                      <a:pt x="300" y="325"/>
                      <a:pt x="307" y="325"/>
                      <a:pt x="311" y="330"/>
                    </a:cubicBezTo>
                    <a:cubicBezTo>
                      <a:pt x="315" y="334"/>
                      <a:pt x="315" y="341"/>
                      <a:pt x="311" y="345"/>
                    </a:cubicBezTo>
                    <a:cubicBezTo>
                      <a:pt x="304" y="352"/>
                      <a:pt x="304" y="352"/>
                      <a:pt x="304" y="352"/>
                    </a:cubicBezTo>
                    <a:cubicBezTo>
                      <a:pt x="381" y="352"/>
                      <a:pt x="381" y="352"/>
                      <a:pt x="381" y="352"/>
                    </a:cubicBezTo>
                    <a:cubicBezTo>
                      <a:pt x="383" y="348"/>
                      <a:pt x="383" y="348"/>
                      <a:pt x="383" y="348"/>
                    </a:cubicBezTo>
                    <a:cubicBezTo>
                      <a:pt x="337" y="268"/>
                      <a:pt x="337" y="268"/>
                      <a:pt x="337" y="268"/>
                    </a:cubicBezTo>
                    <a:cubicBezTo>
                      <a:pt x="334" y="263"/>
                      <a:pt x="335" y="257"/>
                      <a:pt x="341" y="254"/>
                    </a:cubicBezTo>
                    <a:cubicBezTo>
                      <a:pt x="346" y="251"/>
                      <a:pt x="352" y="253"/>
                      <a:pt x="355" y="258"/>
                    </a:cubicBezTo>
                    <a:cubicBezTo>
                      <a:pt x="405" y="343"/>
                      <a:pt x="405" y="343"/>
                      <a:pt x="405" y="343"/>
                    </a:cubicBezTo>
                    <a:cubicBezTo>
                      <a:pt x="407" y="347"/>
                      <a:pt x="407" y="351"/>
                      <a:pt x="405" y="354"/>
                    </a:cubicBezTo>
                    <a:close/>
                  </a:path>
                </a:pathLst>
              </a:custGeom>
              <a:solidFill>
                <a:srgbClr val="006DDA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ea typeface="+mn-ea"/>
                  <a:cs typeface="+mn-cs"/>
                </a:endParaRPr>
              </a:p>
            </p:txBody>
          </p:sp>
        </p:grpSp>
      </p:grpSp>
      <p:grpSp>
        <p:nvGrpSpPr>
          <p:cNvPr id="74" name="Group 73">
            <a:extLst>
              <a:ext uri="{FF2B5EF4-FFF2-40B4-BE49-F238E27FC236}">
                <a16:creationId xmlns:a16="http://schemas.microsoft.com/office/drawing/2014/main" id="{A2180B7F-8F95-4C62-966A-0E4BA4C54BA3}"/>
              </a:ext>
            </a:extLst>
          </p:cNvPr>
          <p:cNvGrpSpPr/>
          <p:nvPr/>
        </p:nvGrpSpPr>
        <p:grpSpPr>
          <a:xfrm>
            <a:off x="3844275" y="1201719"/>
            <a:ext cx="5195253" cy="462509"/>
            <a:chOff x="3844275" y="1570812"/>
            <a:chExt cx="5195253" cy="462509"/>
          </a:xfrm>
        </p:grpSpPr>
        <p:sp>
          <p:nvSpPr>
            <p:cNvPr id="62" name="Rectangle 61">
              <a:extLst>
                <a:ext uri="{FF2B5EF4-FFF2-40B4-BE49-F238E27FC236}">
                  <a16:creationId xmlns:a16="http://schemas.microsoft.com/office/drawing/2014/main" id="{2D4567D9-C03B-2ED8-6CD9-78D09F1F914D}"/>
                </a:ext>
              </a:extLst>
            </p:cNvPr>
            <p:cNvSpPr/>
            <p:nvPr/>
          </p:nvSpPr>
          <p:spPr>
            <a:xfrm>
              <a:off x="4144908" y="1610505"/>
              <a:ext cx="4894620" cy="383123"/>
            </a:xfrm>
            <a:custGeom>
              <a:avLst/>
              <a:gdLst>
                <a:gd name="connsiteX0" fmla="*/ 0 w 4894620"/>
                <a:gd name="connsiteY0" fmla="*/ 0 h 383123"/>
                <a:gd name="connsiteX1" fmla="*/ 601339 w 4894620"/>
                <a:gd name="connsiteY1" fmla="*/ 0 h 383123"/>
                <a:gd name="connsiteX2" fmla="*/ 1202678 w 4894620"/>
                <a:gd name="connsiteY2" fmla="*/ 0 h 383123"/>
                <a:gd name="connsiteX3" fmla="*/ 1804017 w 4894620"/>
                <a:gd name="connsiteY3" fmla="*/ 0 h 383123"/>
                <a:gd name="connsiteX4" fmla="*/ 2356410 w 4894620"/>
                <a:gd name="connsiteY4" fmla="*/ 0 h 383123"/>
                <a:gd name="connsiteX5" fmla="*/ 3104588 w 4894620"/>
                <a:gd name="connsiteY5" fmla="*/ 0 h 383123"/>
                <a:gd name="connsiteX6" fmla="*/ 3656980 w 4894620"/>
                <a:gd name="connsiteY6" fmla="*/ 0 h 383123"/>
                <a:gd name="connsiteX7" fmla="*/ 4894620 w 4894620"/>
                <a:gd name="connsiteY7" fmla="*/ 0 h 383123"/>
                <a:gd name="connsiteX8" fmla="*/ 4894620 w 4894620"/>
                <a:gd name="connsiteY8" fmla="*/ 383123 h 383123"/>
                <a:gd name="connsiteX9" fmla="*/ 4097496 w 4894620"/>
                <a:gd name="connsiteY9" fmla="*/ 383123 h 383123"/>
                <a:gd name="connsiteX10" fmla="*/ 3349319 w 4894620"/>
                <a:gd name="connsiteY10" fmla="*/ 383123 h 383123"/>
                <a:gd name="connsiteX11" fmla="*/ 2747980 w 4894620"/>
                <a:gd name="connsiteY11" fmla="*/ 383123 h 383123"/>
                <a:gd name="connsiteX12" fmla="*/ 1999802 w 4894620"/>
                <a:gd name="connsiteY12" fmla="*/ 383123 h 383123"/>
                <a:gd name="connsiteX13" fmla="*/ 1202678 w 4894620"/>
                <a:gd name="connsiteY13" fmla="*/ 383123 h 383123"/>
                <a:gd name="connsiteX14" fmla="*/ 0 w 4894620"/>
                <a:gd name="connsiteY14" fmla="*/ 383123 h 383123"/>
                <a:gd name="connsiteX15" fmla="*/ 0 w 4894620"/>
                <a:gd name="connsiteY15" fmla="*/ 0 h 3831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894620" h="383123" fill="none" extrusionOk="0">
                  <a:moveTo>
                    <a:pt x="0" y="0"/>
                  </a:moveTo>
                  <a:cubicBezTo>
                    <a:pt x="290465" y="21366"/>
                    <a:pt x="334422" y="-23353"/>
                    <a:pt x="601339" y="0"/>
                  </a:cubicBezTo>
                  <a:cubicBezTo>
                    <a:pt x="868256" y="23353"/>
                    <a:pt x="1053399" y="-1871"/>
                    <a:pt x="1202678" y="0"/>
                  </a:cubicBezTo>
                  <a:cubicBezTo>
                    <a:pt x="1351957" y="1871"/>
                    <a:pt x="1602776" y="-5460"/>
                    <a:pt x="1804017" y="0"/>
                  </a:cubicBezTo>
                  <a:cubicBezTo>
                    <a:pt x="2005258" y="5460"/>
                    <a:pt x="2168186" y="14411"/>
                    <a:pt x="2356410" y="0"/>
                  </a:cubicBezTo>
                  <a:cubicBezTo>
                    <a:pt x="2544634" y="-14411"/>
                    <a:pt x="2825539" y="34464"/>
                    <a:pt x="3104588" y="0"/>
                  </a:cubicBezTo>
                  <a:cubicBezTo>
                    <a:pt x="3383637" y="-34464"/>
                    <a:pt x="3438794" y="130"/>
                    <a:pt x="3656980" y="0"/>
                  </a:cubicBezTo>
                  <a:cubicBezTo>
                    <a:pt x="3875166" y="-130"/>
                    <a:pt x="4541486" y="24483"/>
                    <a:pt x="4894620" y="0"/>
                  </a:cubicBezTo>
                  <a:cubicBezTo>
                    <a:pt x="4884517" y="112072"/>
                    <a:pt x="4876580" y="207502"/>
                    <a:pt x="4894620" y="383123"/>
                  </a:cubicBezTo>
                  <a:cubicBezTo>
                    <a:pt x="4717955" y="362124"/>
                    <a:pt x="4419789" y="373129"/>
                    <a:pt x="4097496" y="383123"/>
                  </a:cubicBezTo>
                  <a:cubicBezTo>
                    <a:pt x="3775203" y="393117"/>
                    <a:pt x="3631895" y="388851"/>
                    <a:pt x="3349319" y="383123"/>
                  </a:cubicBezTo>
                  <a:cubicBezTo>
                    <a:pt x="3066743" y="377395"/>
                    <a:pt x="3027363" y="380979"/>
                    <a:pt x="2747980" y="383123"/>
                  </a:cubicBezTo>
                  <a:cubicBezTo>
                    <a:pt x="2468597" y="385267"/>
                    <a:pt x="2292422" y="407368"/>
                    <a:pt x="1999802" y="383123"/>
                  </a:cubicBezTo>
                  <a:cubicBezTo>
                    <a:pt x="1707182" y="358878"/>
                    <a:pt x="1521778" y="384812"/>
                    <a:pt x="1202678" y="383123"/>
                  </a:cubicBezTo>
                  <a:cubicBezTo>
                    <a:pt x="883578" y="381434"/>
                    <a:pt x="448283" y="356512"/>
                    <a:pt x="0" y="383123"/>
                  </a:cubicBezTo>
                  <a:cubicBezTo>
                    <a:pt x="14981" y="302324"/>
                    <a:pt x="16128" y="80955"/>
                    <a:pt x="0" y="0"/>
                  </a:cubicBezTo>
                  <a:close/>
                </a:path>
                <a:path w="4894620" h="383123" stroke="0" extrusionOk="0">
                  <a:moveTo>
                    <a:pt x="0" y="0"/>
                  </a:moveTo>
                  <a:cubicBezTo>
                    <a:pt x="192958" y="-10376"/>
                    <a:pt x="350273" y="-21026"/>
                    <a:pt x="601339" y="0"/>
                  </a:cubicBezTo>
                  <a:cubicBezTo>
                    <a:pt x="852405" y="21026"/>
                    <a:pt x="1084476" y="-26157"/>
                    <a:pt x="1398463" y="0"/>
                  </a:cubicBezTo>
                  <a:cubicBezTo>
                    <a:pt x="1712450" y="26157"/>
                    <a:pt x="1863967" y="-23126"/>
                    <a:pt x="2048748" y="0"/>
                  </a:cubicBezTo>
                  <a:cubicBezTo>
                    <a:pt x="2233530" y="23126"/>
                    <a:pt x="2475764" y="28786"/>
                    <a:pt x="2650087" y="0"/>
                  </a:cubicBezTo>
                  <a:cubicBezTo>
                    <a:pt x="2824410" y="-28786"/>
                    <a:pt x="2985230" y="-1225"/>
                    <a:pt x="3202480" y="0"/>
                  </a:cubicBezTo>
                  <a:cubicBezTo>
                    <a:pt x="3419730" y="1225"/>
                    <a:pt x="3501574" y="22514"/>
                    <a:pt x="3754873" y="0"/>
                  </a:cubicBezTo>
                  <a:cubicBezTo>
                    <a:pt x="4008172" y="-22514"/>
                    <a:pt x="4594890" y="39585"/>
                    <a:pt x="4894620" y="0"/>
                  </a:cubicBezTo>
                  <a:cubicBezTo>
                    <a:pt x="4890929" y="106140"/>
                    <a:pt x="4881465" y="221604"/>
                    <a:pt x="4894620" y="383123"/>
                  </a:cubicBezTo>
                  <a:cubicBezTo>
                    <a:pt x="4678339" y="379017"/>
                    <a:pt x="4563843" y="387868"/>
                    <a:pt x="4244335" y="383123"/>
                  </a:cubicBezTo>
                  <a:cubicBezTo>
                    <a:pt x="3924828" y="378378"/>
                    <a:pt x="3708239" y="420016"/>
                    <a:pt x="3496157" y="383123"/>
                  </a:cubicBezTo>
                  <a:cubicBezTo>
                    <a:pt x="3284075" y="346230"/>
                    <a:pt x="3094758" y="366601"/>
                    <a:pt x="2845872" y="383123"/>
                  </a:cubicBezTo>
                  <a:cubicBezTo>
                    <a:pt x="2596986" y="399645"/>
                    <a:pt x="2350203" y="376939"/>
                    <a:pt x="2195587" y="383123"/>
                  </a:cubicBezTo>
                  <a:cubicBezTo>
                    <a:pt x="2040971" y="389307"/>
                    <a:pt x="1698285" y="398130"/>
                    <a:pt x="1398463" y="383123"/>
                  </a:cubicBezTo>
                  <a:cubicBezTo>
                    <a:pt x="1098641" y="368116"/>
                    <a:pt x="907865" y="390321"/>
                    <a:pt x="748178" y="383123"/>
                  </a:cubicBezTo>
                  <a:cubicBezTo>
                    <a:pt x="588492" y="375925"/>
                    <a:pt x="327531" y="370585"/>
                    <a:pt x="0" y="383123"/>
                  </a:cubicBezTo>
                  <a:cubicBezTo>
                    <a:pt x="-6533" y="256147"/>
                    <a:pt x="-7555" y="79248"/>
                    <a:pt x="0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solidFill>
                <a:schemeClr val="accent1">
                  <a:lumMod val="75000"/>
                  <a:lumOff val="25000"/>
                </a:schemeClr>
              </a:solidFill>
              <a:extLst>
                <a:ext uri="{C807C97D-BFC1-408E-A445-0C87EB9F89A2}">
                  <ask:lineSketchStyleProps xmlns:ask="http://schemas.microsoft.com/office/drawing/2018/sketchyshapes" sd="3748851001">
                    <a:prstGeom prst="rect">
                      <a:avLst/>
                    </a:prstGeom>
                    <ask:type>
                      <ask:lineSketchFreehand/>
                    </ask:type>
                  </ask:lineSketchStyleProps>
                </a:ext>
              </a:extLst>
            </a:ln>
            <a:effectLst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lIns="324000" rtlCol="0" anchor="ctr"/>
            <a:lstStyle/>
            <a:p>
              <a:r>
                <a:rPr lang="en-US" sz="1200" b="1" dirty="0">
                  <a:solidFill>
                    <a:schemeClr val="accent1"/>
                  </a:solidFill>
                </a:rPr>
                <a:t>Vehicle search </a:t>
              </a:r>
              <a:r>
                <a:rPr lang="en-US" sz="1200" dirty="0">
                  <a:solidFill>
                    <a:schemeClr val="accent1"/>
                  </a:solidFill>
                </a:rPr>
                <a:t>in case of </a:t>
              </a:r>
              <a:r>
                <a:rPr lang="en-US" sz="1200" b="1" dirty="0">
                  <a:solidFill>
                    <a:schemeClr val="accent1"/>
                  </a:solidFill>
                </a:rPr>
                <a:t>theft</a:t>
              </a:r>
            </a:p>
          </p:txBody>
        </p:sp>
        <p:grpSp>
          <p:nvGrpSpPr>
            <p:cNvPr id="63" name="Group 62">
              <a:extLst>
                <a:ext uri="{FF2B5EF4-FFF2-40B4-BE49-F238E27FC236}">
                  <a16:creationId xmlns:a16="http://schemas.microsoft.com/office/drawing/2014/main" id="{A4FC76FF-2C30-8810-5ACA-D2F0DC809AE1}"/>
                </a:ext>
              </a:extLst>
            </p:cNvPr>
            <p:cNvGrpSpPr/>
            <p:nvPr/>
          </p:nvGrpSpPr>
          <p:grpSpPr>
            <a:xfrm>
              <a:off x="3844275" y="1570812"/>
              <a:ext cx="462509" cy="462509"/>
              <a:chOff x="6906723" y="-228459"/>
              <a:chExt cx="615600" cy="615600"/>
            </a:xfrm>
          </p:grpSpPr>
          <p:sp>
            <p:nvSpPr>
              <p:cNvPr id="64" name="Oval 63">
                <a:extLst>
                  <a:ext uri="{FF2B5EF4-FFF2-40B4-BE49-F238E27FC236}">
                    <a16:creationId xmlns:a16="http://schemas.microsoft.com/office/drawing/2014/main" id="{25AEC695-7330-21F3-8F44-25B3CA8EFA2C}"/>
                  </a:ext>
                </a:extLst>
              </p:cNvPr>
              <p:cNvSpPr/>
              <p:nvPr/>
            </p:nvSpPr>
            <p:spPr>
              <a:xfrm>
                <a:off x="6906723" y="-228459"/>
                <a:ext cx="615600" cy="61560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endParaRPr lang="en-US" sz="16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65" name="Freeform 678">
                <a:extLst>
                  <a:ext uri="{FF2B5EF4-FFF2-40B4-BE49-F238E27FC236}">
                    <a16:creationId xmlns:a16="http://schemas.microsoft.com/office/drawing/2014/main" id="{E2A49238-A7A5-04B2-3A60-DCC37E28FDD4}"/>
                  </a:ext>
                </a:extLst>
              </p:cNvPr>
              <p:cNvSpPr>
                <a:spLocks noChangeAspect="1" noEditPoints="1"/>
              </p:cNvSpPr>
              <p:nvPr/>
            </p:nvSpPr>
            <p:spPr bwMode="auto">
              <a:xfrm>
                <a:off x="6906723" y="-228459"/>
                <a:ext cx="615600" cy="615600"/>
              </a:xfrm>
              <a:custGeom>
                <a:avLst/>
                <a:gdLst>
                  <a:gd name="T0" fmla="*/ 267 w 512"/>
                  <a:gd name="T1" fmla="*/ 214 h 512"/>
                  <a:gd name="T2" fmla="*/ 256 w 512"/>
                  <a:gd name="T3" fmla="*/ 224 h 512"/>
                  <a:gd name="T4" fmla="*/ 245 w 512"/>
                  <a:gd name="T5" fmla="*/ 214 h 512"/>
                  <a:gd name="T6" fmla="*/ 256 w 512"/>
                  <a:gd name="T7" fmla="*/ 203 h 512"/>
                  <a:gd name="T8" fmla="*/ 267 w 512"/>
                  <a:gd name="T9" fmla="*/ 214 h 512"/>
                  <a:gd name="T10" fmla="*/ 512 w 512"/>
                  <a:gd name="T11" fmla="*/ 256 h 512"/>
                  <a:gd name="T12" fmla="*/ 256 w 512"/>
                  <a:gd name="T13" fmla="*/ 512 h 512"/>
                  <a:gd name="T14" fmla="*/ 0 w 512"/>
                  <a:gd name="T15" fmla="*/ 256 h 512"/>
                  <a:gd name="T16" fmla="*/ 256 w 512"/>
                  <a:gd name="T17" fmla="*/ 0 h 512"/>
                  <a:gd name="T18" fmla="*/ 512 w 512"/>
                  <a:gd name="T19" fmla="*/ 256 h 512"/>
                  <a:gd name="T20" fmla="*/ 218 w 512"/>
                  <a:gd name="T21" fmla="*/ 302 h 512"/>
                  <a:gd name="T22" fmla="*/ 160 w 512"/>
                  <a:gd name="T23" fmla="*/ 214 h 512"/>
                  <a:gd name="T24" fmla="*/ 218 w 512"/>
                  <a:gd name="T25" fmla="*/ 126 h 512"/>
                  <a:gd name="T26" fmla="*/ 223 w 512"/>
                  <a:gd name="T27" fmla="*/ 112 h 512"/>
                  <a:gd name="T28" fmla="*/ 209 w 512"/>
                  <a:gd name="T29" fmla="*/ 106 h 512"/>
                  <a:gd name="T30" fmla="*/ 139 w 512"/>
                  <a:gd name="T31" fmla="*/ 214 h 512"/>
                  <a:gd name="T32" fmla="*/ 209 w 512"/>
                  <a:gd name="T33" fmla="*/ 321 h 512"/>
                  <a:gd name="T34" fmla="*/ 213 w 512"/>
                  <a:gd name="T35" fmla="*/ 322 h 512"/>
                  <a:gd name="T36" fmla="*/ 223 w 512"/>
                  <a:gd name="T37" fmla="*/ 316 h 512"/>
                  <a:gd name="T38" fmla="*/ 218 w 512"/>
                  <a:gd name="T39" fmla="*/ 302 h 512"/>
                  <a:gd name="T40" fmla="*/ 229 w 512"/>
                  <a:gd name="T41" fmla="*/ 260 h 512"/>
                  <a:gd name="T42" fmla="*/ 203 w 512"/>
                  <a:gd name="T43" fmla="*/ 214 h 512"/>
                  <a:gd name="T44" fmla="*/ 229 w 512"/>
                  <a:gd name="T45" fmla="*/ 167 h 512"/>
                  <a:gd name="T46" fmla="*/ 233 w 512"/>
                  <a:gd name="T47" fmla="*/ 153 h 512"/>
                  <a:gd name="T48" fmla="*/ 219 w 512"/>
                  <a:gd name="T49" fmla="*/ 149 h 512"/>
                  <a:gd name="T50" fmla="*/ 181 w 512"/>
                  <a:gd name="T51" fmla="*/ 214 h 512"/>
                  <a:gd name="T52" fmla="*/ 219 w 512"/>
                  <a:gd name="T53" fmla="*/ 278 h 512"/>
                  <a:gd name="T54" fmla="*/ 224 w 512"/>
                  <a:gd name="T55" fmla="*/ 280 h 512"/>
                  <a:gd name="T56" fmla="*/ 233 w 512"/>
                  <a:gd name="T57" fmla="*/ 274 h 512"/>
                  <a:gd name="T58" fmla="*/ 229 w 512"/>
                  <a:gd name="T59" fmla="*/ 260 h 512"/>
                  <a:gd name="T60" fmla="*/ 267 w 512"/>
                  <a:gd name="T61" fmla="*/ 244 h 512"/>
                  <a:gd name="T62" fmla="*/ 288 w 512"/>
                  <a:gd name="T63" fmla="*/ 214 h 512"/>
                  <a:gd name="T64" fmla="*/ 256 w 512"/>
                  <a:gd name="T65" fmla="*/ 182 h 512"/>
                  <a:gd name="T66" fmla="*/ 224 w 512"/>
                  <a:gd name="T67" fmla="*/ 214 h 512"/>
                  <a:gd name="T68" fmla="*/ 245 w 512"/>
                  <a:gd name="T69" fmla="*/ 244 h 512"/>
                  <a:gd name="T70" fmla="*/ 245 w 512"/>
                  <a:gd name="T71" fmla="*/ 406 h 512"/>
                  <a:gd name="T72" fmla="*/ 256 w 512"/>
                  <a:gd name="T73" fmla="*/ 416 h 512"/>
                  <a:gd name="T74" fmla="*/ 267 w 512"/>
                  <a:gd name="T75" fmla="*/ 406 h 512"/>
                  <a:gd name="T76" fmla="*/ 267 w 512"/>
                  <a:gd name="T77" fmla="*/ 244 h 512"/>
                  <a:gd name="T78" fmla="*/ 288 w 512"/>
                  <a:gd name="T79" fmla="*/ 280 h 512"/>
                  <a:gd name="T80" fmla="*/ 293 w 512"/>
                  <a:gd name="T81" fmla="*/ 278 h 512"/>
                  <a:gd name="T82" fmla="*/ 331 w 512"/>
                  <a:gd name="T83" fmla="*/ 214 h 512"/>
                  <a:gd name="T84" fmla="*/ 293 w 512"/>
                  <a:gd name="T85" fmla="*/ 149 h 512"/>
                  <a:gd name="T86" fmla="*/ 279 w 512"/>
                  <a:gd name="T87" fmla="*/ 153 h 512"/>
                  <a:gd name="T88" fmla="*/ 283 w 512"/>
                  <a:gd name="T89" fmla="*/ 167 h 512"/>
                  <a:gd name="T90" fmla="*/ 309 w 512"/>
                  <a:gd name="T91" fmla="*/ 214 h 512"/>
                  <a:gd name="T92" fmla="*/ 283 w 512"/>
                  <a:gd name="T93" fmla="*/ 260 h 512"/>
                  <a:gd name="T94" fmla="*/ 279 w 512"/>
                  <a:gd name="T95" fmla="*/ 274 h 512"/>
                  <a:gd name="T96" fmla="*/ 288 w 512"/>
                  <a:gd name="T97" fmla="*/ 280 h 512"/>
                  <a:gd name="T98" fmla="*/ 373 w 512"/>
                  <a:gd name="T99" fmla="*/ 214 h 512"/>
                  <a:gd name="T100" fmla="*/ 303 w 512"/>
                  <a:gd name="T101" fmla="*/ 106 h 512"/>
                  <a:gd name="T102" fmla="*/ 289 w 512"/>
                  <a:gd name="T103" fmla="*/ 112 h 512"/>
                  <a:gd name="T104" fmla="*/ 294 w 512"/>
                  <a:gd name="T105" fmla="*/ 126 h 512"/>
                  <a:gd name="T106" fmla="*/ 352 w 512"/>
                  <a:gd name="T107" fmla="*/ 214 h 512"/>
                  <a:gd name="T108" fmla="*/ 294 w 512"/>
                  <a:gd name="T109" fmla="*/ 302 h 512"/>
                  <a:gd name="T110" fmla="*/ 289 w 512"/>
                  <a:gd name="T111" fmla="*/ 316 h 512"/>
                  <a:gd name="T112" fmla="*/ 299 w 512"/>
                  <a:gd name="T113" fmla="*/ 322 h 512"/>
                  <a:gd name="T114" fmla="*/ 303 w 512"/>
                  <a:gd name="T115" fmla="*/ 321 h 512"/>
                  <a:gd name="T116" fmla="*/ 373 w 512"/>
                  <a:gd name="T117" fmla="*/ 214 h 5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512" h="512">
                    <a:moveTo>
                      <a:pt x="267" y="214"/>
                    </a:moveTo>
                    <a:cubicBezTo>
                      <a:pt x="267" y="220"/>
                      <a:pt x="262" y="224"/>
                      <a:pt x="256" y="224"/>
                    </a:cubicBezTo>
                    <a:cubicBezTo>
                      <a:pt x="250" y="224"/>
                      <a:pt x="245" y="220"/>
                      <a:pt x="245" y="214"/>
                    </a:cubicBezTo>
                    <a:cubicBezTo>
                      <a:pt x="245" y="208"/>
                      <a:pt x="250" y="203"/>
                      <a:pt x="256" y="203"/>
                    </a:cubicBezTo>
                    <a:cubicBezTo>
                      <a:pt x="262" y="203"/>
                      <a:pt x="267" y="208"/>
                      <a:pt x="267" y="214"/>
                    </a:cubicBezTo>
                    <a:close/>
                    <a:moveTo>
                      <a:pt x="512" y="256"/>
                    </a:moveTo>
                    <a:cubicBezTo>
                      <a:pt x="512" y="398"/>
                      <a:pt x="397" y="512"/>
                      <a:pt x="256" y="512"/>
                    </a:cubicBezTo>
                    <a:cubicBezTo>
                      <a:pt x="115" y="512"/>
                      <a:pt x="0" y="398"/>
                      <a:pt x="0" y="256"/>
                    </a:cubicBezTo>
                    <a:cubicBezTo>
                      <a:pt x="0" y="115"/>
                      <a:pt x="115" y="0"/>
                      <a:pt x="256" y="0"/>
                    </a:cubicBezTo>
                    <a:cubicBezTo>
                      <a:pt x="397" y="0"/>
                      <a:pt x="512" y="115"/>
                      <a:pt x="512" y="256"/>
                    </a:cubicBezTo>
                    <a:close/>
                    <a:moveTo>
                      <a:pt x="218" y="302"/>
                    </a:moveTo>
                    <a:cubicBezTo>
                      <a:pt x="183" y="286"/>
                      <a:pt x="160" y="252"/>
                      <a:pt x="160" y="214"/>
                    </a:cubicBezTo>
                    <a:cubicBezTo>
                      <a:pt x="160" y="175"/>
                      <a:pt x="183" y="141"/>
                      <a:pt x="218" y="126"/>
                    </a:cubicBezTo>
                    <a:cubicBezTo>
                      <a:pt x="223" y="123"/>
                      <a:pt x="225" y="117"/>
                      <a:pt x="223" y="112"/>
                    </a:cubicBezTo>
                    <a:cubicBezTo>
                      <a:pt x="221" y="106"/>
                      <a:pt x="214" y="104"/>
                      <a:pt x="209" y="106"/>
                    </a:cubicBezTo>
                    <a:cubicBezTo>
                      <a:pt x="166" y="125"/>
                      <a:pt x="139" y="167"/>
                      <a:pt x="139" y="214"/>
                    </a:cubicBezTo>
                    <a:cubicBezTo>
                      <a:pt x="139" y="260"/>
                      <a:pt x="166" y="303"/>
                      <a:pt x="209" y="321"/>
                    </a:cubicBezTo>
                    <a:cubicBezTo>
                      <a:pt x="210" y="322"/>
                      <a:pt x="212" y="322"/>
                      <a:pt x="213" y="322"/>
                    </a:cubicBezTo>
                    <a:cubicBezTo>
                      <a:pt x="217" y="322"/>
                      <a:pt x="221" y="320"/>
                      <a:pt x="223" y="316"/>
                    </a:cubicBezTo>
                    <a:cubicBezTo>
                      <a:pt x="225" y="310"/>
                      <a:pt x="223" y="304"/>
                      <a:pt x="218" y="302"/>
                    </a:cubicBezTo>
                    <a:close/>
                    <a:moveTo>
                      <a:pt x="229" y="260"/>
                    </a:moveTo>
                    <a:cubicBezTo>
                      <a:pt x="213" y="250"/>
                      <a:pt x="203" y="233"/>
                      <a:pt x="203" y="214"/>
                    </a:cubicBezTo>
                    <a:cubicBezTo>
                      <a:pt x="203" y="195"/>
                      <a:pt x="213" y="177"/>
                      <a:pt x="229" y="167"/>
                    </a:cubicBezTo>
                    <a:cubicBezTo>
                      <a:pt x="234" y="165"/>
                      <a:pt x="236" y="158"/>
                      <a:pt x="233" y="153"/>
                    </a:cubicBezTo>
                    <a:cubicBezTo>
                      <a:pt x="230" y="148"/>
                      <a:pt x="224" y="146"/>
                      <a:pt x="219" y="149"/>
                    </a:cubicBezTo>
                    <a:cubicBezTo>
                      <a:pt x="196" y="162"/>
                      <a:pt x="181" y="187"/>
                      <a:pt x="181" y="214"/>
                    </a:cubicBezTo>
                    <a:cubicBezTo>
                      <a:pt x="181" y="240"/>
                      <a:pt x="196" y="265"/>
                      <a:pt x="219" y="278"/>
                    </a:cubicBezTo>
                    <a:cubicBezTo>
                      <a:pt x="220" y="279"/>
                      <a:pt x="222" y="280"/>
                      <a:pt x="224" y="280"/>
                    </a:cubicBezTo>
                    <a:cubicBezTo>
                      <a:pt x="228" y="280"/>
                      <a:pt x="231" y="278"/>
                      <a:pt x="233" y="274"/>
                    </a:cubicBezTo>
                    <a:cubicBezTo>
                      <a:pt x="236" y="269"/>
                      <a:pt x="234" y="263"/>
                      <a:pt x="229" y="260"/>
                    </a:cubicBezTo>
                    <a:close/>
                    <a:moveTo>
                      <a:pt x="267" y="244"/>
                    </a:moveTo>
                    <a:cubicBezTo>
                      <a:pt x="279" y="239"/>
                      <a:pt x="288" y="228"/>
                      <a:pt x="288" y="214"/>
                    </a:cubicBezTo>
                    <a:cubicBezTo>
                      <a:pt x="288" y="196"/>
                      <a:pt x="274" y="182"/>
                      <a:pt x="256" y="182"/>
                    </a:cubicBezTo>
                    <a:cubicBezTo>
                      <a:pt x="238" y="182"/>
                      <a:pt x="224" y="196"/>
                      <a:pt x="224" y="214"/>
                    </a:cubicBezTo>
                    <a:cubicBezTo>
                      <a:pt x="224" y="228"/>
                      <a:pt x="233" y="239"/>
                      <a:pt x="245" y="244"/>
                    </a:cubicBezTo>
                    <a:cubicBezTo>
                      <a:pt x="245" y="406"/>
                      <a:pt x="245" y="406"/>
                      <a:pt x="245" y="406"/>
                    </a:cubicBezTo>
                    <a:cubicBezTo>
                      <a:pt x="245" y="412"/>
                      <a:pt x="250" y="416"/>
                      <a:pt x="256" y="416"/>
                    </a:cubicBezTo>
                    <a:cubicBezTo>
                      <a:pt x="262" y="416"/>
                      <a:pt x="267" y="412"/>
                      <a:pt x="267" y="406"/>
                    </a:cubicBezTo>
                    <a:lnTo>
                      <a:pt x="267" y="244"/>
                    </a:lnTo>
                    <a:close/>
                    <a:moveTo>
                      <a:pt x="288" y="280"/>
                    </a:moveTo>
                    <a:cubicBezTo>
                      <a:pt x="290" y="280"/>
                      <a:pt x="292" y="279"/>
                      <a:pt x="293" y="278"/>
                    </a:cubicBezTo>
                    <a:cubicBezTo>
                      <a:pt x="316" y="265"/>
                      <a:pt x="331" y="240"/>
                      <a:pt x="331" y="214"/>
                    </a:cubicBezTo>
                    <a:cubicBezTo>
                      <a:pt x="331" y="187"/>
                      <a:pt x="316" y="162"/>
                      <a:pt x="293" y="149"/>
                    </a:cubicBezTo>
                    <a:cubicBezTo>
                      <a:pt x="288" y="146"/>
                      <a:pt x="282" y="148"/>
                      <a:pt x="279" y="153"/>
                    </a:cubicBezTo>
                    <a:cubicBezTo>
                      <a:pt x="276" y="158"/>
                      <a:pt x="278" y="165"/>
                      <a:pt x="283" y="167"/>
                    </a:cubicBezTo>
                    <a:cubicBezTo>
                      <a:pt x="299" y="177"/>
                      <a:pt x="309" y="195"/>
                      <a:pt x="309" y="214"/>
                    </a:cubicBezTo>
                    <a:cubicBezTo>
                      <a:pt x="309" y="233"/>
                      <a:pt x="299" y="250"/>
                      <a:pt x="283" y="260"/>
                    </a:cubicBezTo>
                    <a:cubicBezTo>
                      <a:pt x="278" y="263"/>
                      <a:pt x="276" y="269"/>
                      <a:pt x="279" y="274"/>
                    </a:cubicBezTo>
                    <a:cubicBezTo>
                      <a:pt x="281" y="278"/>
                      <a:pt x="284" y="280"/>
                      <a:pt x="288" y="280"/>
                    </a:cubicBezTo>
                    <a:close/>
                    <a:moveTo>
                      <a:pt x="373" y="214"/>
                    </a:moveTo>
                    <a:cubicBezTo>
                      <a:pt x="373" y="167"/>
                      <a:pt x="346" y="125"/>
                      <a:pt x="303" y="106"/>
                    </a:cubicBezTo>
                    <a:cubicBezTo>
                      <a:pt x="298" y="104"/>
                      <a:pt x="291" y="106"/>
                      <a:pt x="289" y="112"/>
                    </a:cubicBezTo>
                    <a:cubicBezTo>
                      <a:pt x="287" y="117"/>
                      <a:pt x="289" y="123"/>
                      <a:pt x="294" y="126"/>
                    </a:cubicBezTo>
                    <a:cubicBezTo>
                      <a:pt x="329" y="141"/>
                      <a:pt x="352" y="175"/>
                      <a:pt x="352" y="214"/>
                    </a:cubicBezTo>
                    <a:cubicBezTo>
                      <a:pt x="352" y="252"/>
                      <a:pt x="329" y="286"/>
                      <a:pt x="294" y="302"/>
                    </a:cubicBezTo>
                    <a:cubicBezTo>
                      <a:pt x="289" y="304"/>
                      <a:pt x="287" y="310"/>
                      <a:pt x="289" y="316"/>
                    </a:cubicBezTo>
                    <a:cubicBezTo>
                      <a:pt x="291" y="320"/>
                      <a:pt x="295" y="322"/>
                      <a:pt x="299" y="322"/>
                    </a:cubicBezTo>
                    <a:cubicBezTo>
                      <a:pt x="300" y="322"/>
                      <a:pt x="302" y="322"/>
                      <a:pt x="303" y="321"/>
                    </a:cubicBezTo>
                    <a:cubicBezTo>
                      <a:pt x="346" y="303"/>
                      <a:pt x="373" y="260"/>
                      <a:pt x="373" y="214"/>
                    </a:cubicBezTo>
                    <a:close/>
                  </a:path>
                </a:pathLst>
              </a:custGeom>
              <a:solidFill>
                <a:srgbClr val="006DDA"/>
              </a:solidFill>
              <a:ln>
                <a:noFill/>
              </a:ln>
            </p:spPr>
            <p:txBody>
              <a:bodyPr vert="horz" wrap="square" lIns="200869" tIns="100435" rIns="200869" bIns="100435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3600" dirty="0"/>
              </a:p>
            </p:txBody>
          </p:sp>
        </p:grpSp>
      </p:grpSp>
      <p:grpSp>
        <p:nvGrpSpPr>
          <p:cNvPr id="73" name="Group 72">
            <a:extLst>
              <a:ext uri="{FF2B5EF4-FFF2-40B4-BE49-F238E27FC236}">
                <a16:creationId xmlns:a16="http://schemas.microsoft.com/office/drawing/2014/main" id="{1BA7B91A-5409-4DFE-597D-B5FA92B00AAC}"/>
              </a:ext>
            </a:extLst>
          </p:cNvPr>
          <p:cNvGrpSpPr/>
          <p:nvPr/>
        </p:nvGrpSpPr>
        <p:grpSpPr>
          <a:xfrm>
            <a:off x="3844275" y="1732915"/>
            <a:ext cx="5195253" cy="462509"/>
            <a:chOff x="3844275" y="2108912"/>
            <a:chExt cx="5195253" cy="462509"/>
          </a:xfrm>
        </p:grpSpPr>
        <p:sp>
          <p:nvSpPr>
            <p:cNvPr id="66" name="Rectangle 65">
              <a:extLst>
                <a:ext uri="{FF2B5EF4-FFF2-40B4-BE49-F238E27FC236}">
                  <a16:creationId xmlns:a16="http://schemas.microsoft.com/office/drawing/2014/main" id="{9A9356C8-104A-3D26-D0DA-831CB34C0AF9}"/>
                </a:ext>
              </a:extLst>
            </p:cNvPr>
            <p:cNvSpPr/>
            <p:nvPr/>
          </p:nvSpPr>
          <p:spPr>
            <a:xfrm>
              <a:off x="4144908" y="2148606"/>
              <a:ext cx="4894620" cy="383123"/>
            </a:xfrm>
            <a:custGeom>
              <a:avLst/>
              <a:gdLst>
                <a:gd name="connsiteX0" fmla="*/ 0 w 4894620"/>
                <a:gd name="connsiteY0" fmla="*/ 0 h 383123"/>
                <a:gd name="connsiteX1" fmla="*/ 601339 w 4894620"/>
                <a:gd name="connsiteY1" fmla="*/ 0 h 383123"/>
                <a:gd name="connsiteX2" fmla="*/ 1202678 w 4894620"/>
                <a:gd name="connsiteY2" fmla="*/ 0 h 383123"/>
                <a:gd name="connsiteX3" fmla="*/ 1804017 w 4894620"/>
                <a:gd name="connsiteY3" fmla="*/ 0 h 383123"/>
                <a:gd name="connsiteX4" fmla="*/ 2356410 w 4894620"/>
                <a:gd name="connsiteY4" fmla="*/ 0 h 383123"/>
                <a:gd name="connsiteX5" fmla="*/ 3104588 w 4894620"/>
                <a:gd name="connsiteY5" fmla="*/ 0 h 383123"/>
                <a:gd name="connsiteX6" fmla="*/ 3656980 w 4894620"/>
                <a:gd name="connsiteY6" fmla="*/ 0 h 383123"/>
                <a:gd name="connsiteX7" fmla="*/ 4894620 w 4894620"/>
                <a:gd name="connsiteY7" fmla="*/ 0 h 383123"/>
                <a:gd name="connsiteX8" fmla="*/ 4894620 w 4894620"/>
                <a:gd name="connsiteY8" fmla="*/ 383123 h 383123"/>
                <a:gd name="connsiteX9" fmla="*/ 4097496 w 4894620"/>
                <a:gd name="connsiteY9" fmla="*/ 383123 h 383123"/>
                <a:gd name="connsiteX10" fmla="*/ 3349319 w 4894620"/>
                <a:gd name="connsiteY10" fmla="*/ 383123 h 383123"/>
                <a:gd name="connsiteX11" fmla="*/ 2747980 w 4894620"/>
                <a:gd name="connsiteY11" fmla="*/ 383123 h 383123"/>
                <a:gd name="connsiteX12" fmla="*/ 1999802 w 4894620"/>
                <a:gd name="connsiteY12" fmla="*/ 383123 h 383123"/>
                <a:gd name="connsiteX13" fmla="*/ 1202678 w 4894620"/>
                <a:gd name="connsiteY13" fmla="*/ 383123 h 383123"/>
                <a:gd name="connsiteX14" fmla="*/ 0 w 4894620"/>
                <a:gd name="connsiteY14" fmla="*/ 383123 h 383123"/>
                <a:gd name="connsiteX15" fmla="*/ 0 w 4894620"/>
                <a:gd name="connsiteY15" fmla="*/ 0 h 3831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894620" h="383123" fill="none" extrusionOk="0">
                  <a:moveTo>
                    <a:pt x="0" y="0"/>
                  </a:moveTo>
                  <a:cubicBezTo>
                    <a:pt x="290465" y="21366"/>
                    <a:pt x="334422" y="-23353"/>
                    <a:pt x="601339" y="0"/>
                  </a:cubicBezTo>
                  <a:cubicBezTo>
                    <a:pt x="868256" y="23353"/>
                    <a:pt x="1053399" y="-1871"/>
                    <a:pt x="1202678" y="0"/>
                  </a:cubicBezTo>
                  <a:cubicBezTo>
                    <a:pt x="1351957" y="1871"/>
                    <a:pt x="1602776" y="-5460"/>
                    <a:pt x="1804017" y="0"/>
                  </a:cubicBezTo>
                  <a:cubicBezTo>
                    <a:pt x="2005258" y="5460"/>
                    <a:pt x="2168186" y="14411"/>
                    <a:pt x="2356410" y="0"/>
                  </a:cubicBezTo>
                  <a:cubicBezTo>
                    <a:pt x="2544634" y="-14411"/>
                    <a:pt x="2825539" y="34464"/>
                    <a:pt x="3104588" y="0"/>
                  </a:cubicBezTo>
                  <a:cubicBezTo>
                    <a:pt x="3383637" y="-34464"/>
                    <a:pt x="3438794" y="130"/>
                    <a:pt x="3656980" y="0"/>
                  </a:cubicBezTo>
                  <a:cubicBezTo>
                    <a:pt x="3875166" y="-130"/>
                    <a:pt x="4541486" y="24483"/>
                    <a:pt x="4894620" y="0"/>
                  </a:cubicBezTo>
                  <a:cubicBezTo>
                    <a:pt x="4884517" y="112072"/>
                    <a:pt x="4876580" y="207502"/>
                    <a:pt x="4894620" y="383123"/>
                  </a:cubicBezTo>
                  <a:cubicBezTo>
                    <a:pt x="4717955" y="362124"/>
                    <a:pt x="4419789" y="373129"/>
                    <a:pt x="4097496" y="383123"/>
                  </a:cubicBezTo>
                  <a:cubicBezTo>
                    <a:pt x="3775203" y="393117"/>
                    <a:pt x="3631895" y="388851"/>
                    <a:pt x="3349319" y="383123"/>
                  </a:cubicBezTo>
                  <a:cubicBezTo>
                    <a:pt x="3066743" y="377395"/>
                    <a:pt x="3027363" y="380979"/>
                    <a:pt x="2747980" y="383123"/>
                  </a:cubicBezTo>
                  <a:cubicBezTo>
                    <a:pt x="2468597" y="385267"/>
                    <a:pt x="2292422" y="407368"/>
                    <a:pt x="1999802" y="383123"/>
                  </a:cubicBezTo>
                  <a:cubicBezTo>
                    <a:pt x="1707182" y="358878"/>
                    <a:pt x="1521778" y="384812"/>
                    <a:pt x="1202678" y="383123"/>
                  </a:cubicBezTo>
                  <a:cubicBezTo>
                    <a:pt x="883578" y="381434"/>
                    <a:pt x="448283" y="356512"/>
                    <a:pt x="0" y="383123"/>
                  </a:cubicBezTo>
                  <a:cubicBezTo>
                    <a:pt x="14981" y="302324"/>
                    <a:pt x="16128" y="80955"/>
                    <a:pt x="0" y="0"/>
                  </a:cubicBezTo>
                  <a:close/>
                </a:path>
                <a:path w="4894620" h="383123" stroke="0" extrusionOk="0">
                  <a:moveTo>
                    <a:pt x="0" y="0"/>
                  </a:moveTo>
                  <a:cubicBezTo>
                    <a:pt x="192958" y="-10376"/>
                    <a:pt x="350273" y="-21026"/>
                    <a:pt x="601339" y="0"/>
                  </a:cubicBezTo>
                  <a:cubicBezTo>
                    <a:pt x="852405" y="21026"/>
                    <a:pt x="1084476" y="-26157"/>
                    <a:pt x="1398463" y="0"/>
                  </a:cubicBezTo>
                  <a:cubicBezTo>
                    <a:pt x="1712450" y="26157"/>
                    <a:pt x="1863967" y="-23126"/>
                    <a:pt x="2048748" y="0"/>
                  </a:cubicBezTo>
                  <a:cubicBezTo>
                    <a:pt x="2233530" y="23126"/>
                    <a:pt x="2475764" y="28786"/>
                    <a:pt x="2650087" y="0"/>
                  </a:cubicBezTo>
                  <a:cubicBezTo>
                    <a:pt x="2824410" y="-28786"/>
                    <a:pt x="2985230" y="-1225"/>
                    <a:pt x="3202480" y="0"/>
                  </a:cubicBezTo>
                  <a:cubicBezTo>
                    <a:pt x="3419730" y="1225"/>
                    <a:pt x="3501574" y="22514"/>
                    <a:pt x="3754873" y="0"/>
                  </a:cubicBezTo>
                  <a:cubicBezTo>
                    <a:pt x="4008172" y="-22514"/>
                    <a:pt x="4594890" y="39585"/>
                    <a:pt x="4894620" y="0"/>
                  </a:cubicBezTo>
                  <a:cubicBezTo>
                    <a:pt x="4890929" y="106140"/>
                    <a:pt x="4881465" y="221604"/>
                    <a:pt x="4894620" y="383123"/>
                  </a:cubicBezTo>
                  <a:cubicBezTo>
                    <a:pt x="4678339" y="379017"/>
                    <a:pt x="4563843" y="387868"/>
                    <a:pt x="4244335" y="383123"/>
                  </a:cubicBezTo>
                  <a:cubicBezTo>
                    <a:pt x="3924828" y="378378"/>
                    <a:pt x="3708239" y="420016"/>
                    <a:pt x="3496157" y="383123"/>
                  </a:cubicBezTo>
                  <a:cubicBezTo>
                    <a:pt x="3284075" y="346230"/>
                    <a:pt x="3094758" y="366601"/>
                    <a:pt x="2845872" y="383123"/>
                  </a:cubicBezTo>
                  <a:cubicBezTo>
                    <a:pt x="2596986" y="399645"/>
                    <a:pt x="2350203" y="376939"/>
                    <a:pt x="2195587" y="383123"/>
                  </a:cubicBezTo>
                  <a:cubicBezTo>
                    <a:pt x="2040971" y="389307"/>
                    <a:pt x="1698285" y="398130"/>
                    <a:pt x="1398463" y="383123"/>
                  </a:cubicBezTo>
                  <a:cubicBezTo>
                    <a:pt x="1098641" y="368116"/>
                    <a:pt x="907865" y="390321"/>
                    <a:pt x="748178" y="383123"/>
                  </a:cubicBezTo>
                  <a:cubicBezTo>
                    <a:pt x="588492" y="375925"/>
                    <a:pt x="327531" y="370585"/>
                    <a:pt x="0" y="383123"/>
                  </a:cubicBezTo>
                  <a:cubicBezTo>
                    <a:pt x="-6533" y="256147"/>
                    <a:pt x="-7555" y="79248"/>
                    <a:pt x="0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solidFill>
                <a:schemeClr val="accent1">
                  <a:lumMod val="75000"/>
                  <a:lumOff val="25000"/>
                </a:schemeClr>
              </a:solidFill>
              <a:extLst>
                <a:ext uri="{C807C97D-BFC1-408E-A445-0C87EB9F89A2}">
                  <ask:lineSketchStyleProps xmlns:ask="http://schemas.microsoft.com/office/drawing/2018/sketchyshapes" sd="3748851001">
                    <a:prstGeom prst="rect">
                      <a:avLst/>
                    </a:prstGeom>
                    <ask:type>
                      <ask:lineSketchFreehand/>
                    </ask:type>
                  </ask:lineSketchStyleProps>
                </a:ext>
              </a:extLst>
            </a:ln>
            <a:effectLst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lIns="324000" rtlCol="0" anchor="ctr"/>
            <a:lstStyle/>
            <a:p>
              <a:r>
                <a:rPr lang="en-US" sz="1200" b="1" dirty="0">
                  <a:solidFill>
                    <a:schemeClr val="accent1"/>
                  </a:solidFill>
                </a:rPr>
                <a:t>Assistance requests </a:t>
              </a:r>
              <a:r>
                <a:rPr lang="en-US" sz="1200" dirty="0">
                  <a:solidFill>
                    <a:schemeClr val="accent1"/>
                  </a:solidFill>
                </a:rPr>
                <a:t>via private </a:t>
              </a:r>
              <a:r>
                <a:rPr lang="en-US" sz="1200" b="1" dirty="0" err="1">
                  <a:solidFill>
                    <a:schemeClr val="accent1"/>
                  </a:solidFill>
                </a:rPr>
                <a:t>eCall</a:t>
              </a:r>
              <a:endParaRPr lang="en-US" sz="1200" b="1" dirty="0">
                <a:solidFill>
                  <a:schemeClr val="accent1"/>
                </a:solidFill>
              </a:endParaRPr>
            </a:p>
          </p:txBody>
        </p:sp>
        <p:grpSp>
          <p:nvGrpSpPr>
            <p:cNvPr id="67" name="Group 66">
              <a:extLst>
                <a:ext uri="{FF2B5EF4-FFF2-40B4-BE49-F238E27FC236}">
                  <a16:creationId xmlns:a16="http://schemas.microsoft.com/office/drawing/2014/main" id="{5D0BA70B-766C-502D-C681-FB282640F86A}"/>
                </a:ext>
              </a:extLst>
            </p:cNvPr>
            <p:cNvGrpSpPr/>
            <p:nvPr/>
          </p:nvGrpSpPr>
          <p:grpSpPr>
            <a:xfrm>
              <a:off x="3844275" y="2108912"/>
              <a:ext cx="462509" cy="462509"/>
              <a:chOff x="5131349" y="2906248"/>
              <a:chExt cx="615600" cy="615600"/>
            </a:xfrm>
          </p:grpSpPr>
          <p:sp>
            <p:nvSpPr>
              <p:cNvPr id="68" name="Oval 67">
                <a:extLst>
                  <a:ext uri="{FF2B5EF4-FFF2-40B4-BE49-F238E27FC236}">
                    <a16:creationId xmlns:a16="http://schemas.microsoft.com/office/drawing/2014/main" id="{FCF080D2-FE19-BA13-B2C8-851E80EE52CF}"/>
                  </a:ext>
                </a:extLst>
              </p:cNvPr>
              <p:cNvSpPr/>
              <p:nvPr/>
            </p:nvSpPr>
            <p:spPr>
              <a:xfrm>
                <a:off x="5131349" y="2906248"/>
                <a:ext cx="615600" cy="61560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endParaRPr lang="en-US" sz="16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69" name="Freeform 46">
                <a:extLst>
                  <a:ext uri="{FF2B5EF4-FFF2-40B4-BE49-F238E27FC236}">
                    <a16:creationId xmlns:a16="http://schemas.microsoft.com/office/drawing/2014/main" id="{E76A96A8-38BC-032C-B3FB-1A14C0D0FB71}"/>
                  </a:ext>
                </a:extLst>
              </p:cNvPr>
              <p:cNvSpPr>
                <a:spLocks noChangeAspect="1" noEditPoints="1"/>
              </p:cNvSpPr>
              <p:nvPr/>
            </p:nvSpPr>
            <p:spPr bwMode="auto">
              <a:xfrm>
                <a:off x="5131349" y="2906248"/>
                <a:ext cx="615600" cy="615600"/>
              </a:xfrm>
              <a:custGeom>
                <a:avLst/>
                <a:gdLst>
                  <a:gd name="T0" fmla="*/ 130 w 512"/>
                  <a:gd name="T1" fmla="*/ 330 h 512"/>
                  <a:gd name="T2" fmla="*/ 190 w 512"/>
                  <a:gd name="T3" fmla="*/ 330 h 512"/>
                  <a:gd name="T4" fmla="*/ 309 w 512"/>
                  <a:gd name="T5" fmla="*/ 181 h 512"/>
                  <a:gd name="T6" fmla="*/ 117 w 512"/>
                  <a:gd name="T7" fmla="*/ 330 h 512"/>
                  <a:gd name="T8" fmla="*/ 202 w 512"/>
                  <a:gd name="T9" fmla="*/ 234 h 512"/>
                  <a:gd name="T10" fmla="*/ 213 w 512"/>
                  <a:gd name="T11" fmla="*/ 202 h 512"/>
                  <a:gd name="T12" fmla="*/ 224 w 512"/>
                  <a:gd name="T13" fmla="*/ 234 h 512"/>
                  <a:gd name="T14" fmla="*/ 256 w 512"/>
                  <a:gd name="T15" fmla="*/ 245 h 512"/>
                  <a:gd name="T16" fmla="*/ 224 w 512"/>
                  <a:gd name="T17" fmla="*/ 256 h 512"/>
                  <a:gd name="T18" fmla="*/ 213 w 512"/>
                  <a:gd name="T19" fmla="*/ 288 h 512"/>
                  <a:gd name="T20" fmla="*/ 202 w 512"/>
                  <a:gd name="T21" fmla="*/ 256 h 512"/>
                  <a:gd name="T22" fmla="*/ 170 w 512"/>
                  <a:gd name="T23" fmla="*/ 245 h 512"/>
                  <a:gd name="T24" fmla="*/ 288 w 512"/>
                  <a:gd name="T25" fmla="*/ 160 h 512"/>
                  <a:gd name="T26" fmla="*/ 277 w 512"/>
                  <a:gd name="T27" fmla="*/ 149 h 512"/>
                  <a:gd name="T28" fmla="*/ 256 w 512"/>
                  <a:gd name="T29" fmla="*/ 0 h 512"/>
                  <a:gd name="T30" fmla="*/ 256 w 512"/>
                  <a:gd name="T31" fmla="*/ 512 h 512"/>
                  <a:gd name="T32" fmla="*/ 256 w 512"/>
                  <a:gd name="T33" fmla="*/ 0 h 512"/>
                  <a:gd name="T34" fmla="*/ 405 w 512"/>
                  <a:gd name="T35" fmla="*/ 352 h 512"/>
                  <a:gd name="T36" fmla="*/ 341 w 512"/>
                  <a:gd name="T37" fmla="*/ 373 h 512"/>
                  <a:gd name="T38" fmla="*/ 190 w 512"/>
                  <a:gd name="T39" fmla="*/ 352 h 512"/>
                  <a:gd name="T40" fmla="*/ 130 w 512"/>
                  <a:gd name="T41" fmla="*/ 352 h 512"/>
                  <a:gd name="T42" fmla="*/ 96 w 512"/>
                  <a:gd name="T43" fmla="*/ 341 h 512"/>
                  <a:gd name="T44" fmla="*/ 106 w 512"/>
                  <a:gd name="T45" fmla="*/ 160 h 512"/>
                  <a:gd name="T46" fmla="*/ 277 w 512"/>
                  <a:gd name="T47" fmla="*/ 128 h 512"/>
                  <a:gd name="T48" fmla="*/ 320 w 512"/>
                  <a:gd name="T49" fmla="*/ 160 h 512"/>
                  <a:gd name="T50" fmla="*/ 330 w 512"/>
                  <a:gd name="T51" fmla="*/ 224 h 512"/>
                  <a:gd name="T52" fmla="*/ 416 w 512"/>
                  <a:gd name="T53" fmla="*/ 256 h 512"/>
                  <a:gd name="T54" fmla="*/ 352 w 512"/>
                  <a:gd name="T55" fmla="*/ 341 h 512"/>
                  <a:gd name="T56" fmla="*/ 330 w 512"/>
                  <a:gd name="T57" fmla="*/ 341 h 512"/>
                  <a:gd name="T58" fmla="*/ 352 w 512"/>
                  <a:gd name="T59" fmla="*/ 341 h 512"/>
                  <a:gd name="T60" fmla="*/ 394 w 512"/>
                  <a:gd name="T61" fmla="*/ 330 h 512"/>
                  <a:gd name="T62" fmla="*/ 341 w 512"/>
                  <a:gd name="T63" fmla="*/ 309 h 512"/>
                  <a:gd name="T64" fmla="*/ 330 w 512"/>
                  <a:gd name="T65" fmla="*/ 245 h 512"/>
                  <a:gd name="T66" fmla="*/ 394 w 512"/>
                  <a:gd name="T67" fmla="*/ 256 h 512"/>
                  <a:gd name="T68" fmla="*/ 160 w 512"/>
                  <a:gd name="T69" fmla="*/ 352 h 512"/>
                  <a:gd name="T70" fmla="*/ 160 w 512"/>
                  <a:gd name="T71" fmla="*/ 330 h 5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512" h="512">
                    <a:moveTo>
                      <a:pt x="117" y="330"/>
                    </a:moveTo>
                    <a:cubicBezTo>
                      <a:pt x="130" y="330"/>
                      <a:pt x="130" y="330"/>
                      <a:pt x="130" y="330"/>
                    </a:cubicBezTo>
                    <a:cubicBezTo>
                      <a:pt x="134" y="318"/>
                      <a:pt x="146" y="309"/>
                      <a:pt x="160" y="309"/>
                    </a:cubicBezTo>
                    <a:cubicBezTo>
                      <a:pt x="174" y="309"/>
                      <a:pt x="185" y="318"/>
                      <a:pt x="190" y="330"/>
                    </a:cubicBezTo>
                    <a:cubicBezTo>
                      <a:pt x="309" y="330"/>
                      <a:pt x="309" y="330"/>
                      <a:pt x="309" y="330"/>
                    </a:cubicBezTo>
                    <a:cubicBezTo>
                      <a:pt x="309" y="181"/>
                      <a:pt x="309" y="181"/>
                      <a:pt x="309" y="181"/>
                    </a:cubicBezTo>
                    <a:cubicBezTo>
                      <a:pt x="117" y="181"/>
                      <a:pt x="117" y="181"/>
                      <a:pt x="117" y="181"/>
                    </a:cubicBezTo>
                    <a:lnTo>
                      <a:pt x="117" y="330"/>
                    </a:lnTo>
                    <a:close/>
                    <a:moveTo>
                      <a:pt x="181" y="234"/>
                    </a:moveTo>
                    <a:cubicBezTo>
                      <a:pt x="202" y="234"/>
                      <a:pt x="202" y="234"/>
                      <a:pt x="202" y="234"/>
                    </a:cubicBezTo>
                    <a:cubicBezTo>
                      <a:pt x="202" y="213"/>
                      <a:pt x="202" y="213"/>
                      <a:pt x="202" y="213"/>
                    </a:cubicBezTo>
                    <a:cubicBezTo>
                      <a:pt x="202" y="207"/>
                      <a:pt x="207" y="202"/>
                      <a:pt x="213" y="202"/>
                    </a:cubicBezTo>
                    <a:cubicBezTo>
                      <a:pt x="219" y="202"/>
                      <a:pt x="224" y="207"/>
                      <a:pt x="224" y="213"/>
                    </a:cubicBezTo>
                    <a:cubicBezTo>
                      <a:pt x="224" y="234"/>
                      <a:pt x="224" y="234"/>
                      <a:pt x="224" y="234"/>
                    </a:cubicBezTo>
                    <a:cubicBezTo>
                      <a:pt x="245" y="234"/>
                      <a:pt x="245" y="234"/>
                      <a:pt x="245" y="234"/>
                    </a:cubicBezTo>
                    <a:cubicBezTo>
                      <a:pt x="251" y="234"/>
                      <a:pt x="256" y="239"/>
                      <a:pt x="256" y="245"/>
                    </a:cubicBezTo>
                    <a:cubicBezTo>
                      <a:pt x="256" y="251"/>
                      <a:pt x="251" y="256"/>
                      <a:pt x="245" y="256"/>
                    </a:cubicBezTo>
                    <a:cubicBezTo>
                      <a:pt x="224" y="256"/>
                      <a:pt x="224" y="256"/>
                      <a:pt x="224" y="256"/>
                    </a:cubicBezTo>
                    <a:cubicBezTo>
                      <a:pt x="224" y="277"/>
                      <a:pt x="224" y="277"/>
                      <a:pt x="224" y="277"/>
                    </a:cubicBezTo>
                    <a:cubicBezTo>
                      <a:pt x="224" y="283"/>
                      <a:pt x="219" y="288"/>
                      <a:pt x="213" y="288"/>
                    </a:cubicBezTo>
                    <a:cubicBezTo>
                      <a:pt x="207" y="288"/>
                      <a:pt x="202" y="283"/>
                      <a:pt x="202" y="277"/>
                    </a:cubicBezTo>
                    <a:cubicBezTo>
                      <a:pt x="202" y="256"/>
                      <a:pt x="202" y="256"/>
                      <a:pt x="202" y="256"/>
                    </a:cubicBezTo>
                    <a:cubicBezTo>
                      <a:pt x="181" y="256"/>
                      <a:pt x="181" y="256"/>
                      <a:pt x="181" y="256"/>
                    </a:cubicBezTo>
                    <a:cubicBezTo>
                      <a:pt x="175" y="256"/>
                      <a:pt x="170" y="251"/>
                      <a:pt x="170" y="245"/>
                    </a:cubicBezTo>
                    <a:cubicBezTo>
                      <a:pt x="170" y="239"/>
                      <a:pt x="175" y="234"/>
                      <a:pt x="181" y="234"/>
                    </a:cubicBezTo>
                    <a:close/>
                    <a:moveTo>
                      <a:pt x="288" y="160"/>
                    </a:moveTo>
                    <a:cubicBezTo>
                      <a:pt x="266" y="160"/>
                      <a:pt x="266" y="160"/>
                      <a:pt x="266" y="160"/>
                    </a:cubicBezTo>
                    <a:cubicBezTo>
                      <a:pt x="266" y="154"/>
                      <a:pt x="271" y="149"/>
                      <a:pt x="277" y="149"/>
                    </a:cubicBezTo>
                    <a:cubicBezTo>
                      <a:pt x="283" y="149"/>
                      <a:pt x="288" y="154"/>
                      <a:pt x="288" y="160"/>
                    </a:cubicBezTo>
                    <a:close/>
                    <a:moveTo>
                      <a:pt x="256" y="0"/>
                    </a:moveTo>
                    <a:cubicBezTo>
                      <a:pt x="114" y="0"/>
                      <a:pt x="0" y="114"/>
                      <a:pt x="0" y="256"/>
                    </a:cubicBezTo>
                    <a:cubicBezTo>
                      <a:pt x="0" y="397"/>
                      <a:pt x="114" y="512"/>
                      <a:pt x="256" y="512"/>
                    </a:cubicBezTo>
                    <a:cubicBezTo>
                      <a:pt x="397" y="512"/>
                      <a:pt x="512" y="397"/>
                      <a:pt x="512" y="256"/>
                    </a:cubicBezTo>
                    <a:cubicBezTo>
                      <a:pt x="512" y="114"/>
                      <a:pt x="397" y="0"/>
                      <a:pt x="256" y="0"/>
                    </a:cubicBezTo>
                    <a:close/>
                    <a:moveTo>
                      <a:pt x="416" y="341"/>
                    </a:moveTo>
                    <a:cubicBezTo>
                      <a:pt x="416" y="347"/>
                      <a:pt x="411" y="352"/>
                      <a:pt x="405" y="352"/>
                    </a:cubicBezTo>
                    <a:cubicBezTo>
                      <a:pt x="371" y="352"/>
                      <a:pt x="371" y="352"/>
                      <a:pt x="371" y="352"/>
                    </a:cubicBezTo>
                    <a:cubicBezTo>
                      <a:pt x="367" y="364"/>
                      <a:pt x="355" y="373"/>
                      <a:pt x="341" y="373"/>
                    </a:cubicBezTo>
                    <a:cubicBezTo>
                      <a:pt x="327" y="373"/>
                      <a:pt x="315" y="364"/>
                      <a:pt x="311" y="352"/>
                    </a:cubicBezTo>
                    <a:cubicBezTo>
                      <a:pt x="190" y="352"/>
                      <a:pt x="190" y="352"/>
                      <a:pt x="190" y="352"/>
                    </a:cubicBezTo>
                    <a:cubicBezTo>
                      <a:pt x="185" y="364"/>
                      <a:pt x="174" y="373"/>
                      <a:pt x="160" y="373"/>
                    </a:cubicBezTo>
                    <a:cubicBezTo>
                      <a:pt x="146" y="373"/>
                      <a:pt x="134" y="364"/>
                      <a:pt x="130" y="352"/>
                    </a:cubicBezTo>
                    <a:cubicBezTo>
                      <a:pt x="106" y="352"/>
                      <a:pt x="106" y="352"/>
                      <a:pt x="106" y="352"/>
                    </a:cubicBezTo>
                    <a:cubicBezTo>
                      <a:pt x="100" y="352"/>
                      <a:pt x="96" y="347"/>
                      <a:pt x="96" y="341"/>
                    </a:cubicBezTo>
                    <a:cubicBezTo>
                      <a:pt x="96" y="170"/>
                      <a:pt x="96" y="170"/>
                      <a:pt x="96" y="170"/>
                    </a:cubicBezTo>
                    <a:cubicBezTo>
                      <a:pt x="96" y="164"/>
                      <a:pt x="100" y="160"/>
                      <a:pt x="106" y="160"/>
                    </a:cubicBezTo>
                    <a:cubicBezTo>
                      <a:pt x="245" y="160"/>
                      <a:pt x="245" y="160"/>
                      <a:pt x="245" y="160"/>
                    </a:cubicBezTo>
                    <a:cubicBezTo>
                      <a:pt x="245" y="142"/>
                      <a:pt x="259" y="128"/>
                      <a:pt x="277" y="128"/>
                    </a:cubicBezTo>
                    <a:cubicBezTo>
                      <a:pt x="295" y="128"/>
                      <a:pt x="309" y="142"/>
                      <a:pt x="309" y="160"/>
                    </a:cubicBezTo>
                    <a:cubicBezTo>
                      <a:pt x="320" y="160"/>
                      <a:pt x="320" y="160"/>
                      <a:pt x="320" y="160"/>
                    </a:cubicBezTo>
                    <a:cubicBezTo>
                      <a:pt x="326" y="160"/>
                      <a:pt x="330" y="164"/>
                      <a:pt x="330" y="170"/>
                    </a:cubicBezTo>
                    <a:cubicBezTo>
                      <a:pt x="330" y="224"/>
                      <a:pt x="330" y="224"/>
                      <a:pt x="330" y="224"/>
                    </a:cubicBezTo>
                    <a:cubicBezTo>
                      <a:pt x="384" y="224"/>
                      <a:pt x="384" y="224"/>
                      <a:pt x="384" y="224"/>
                    </a:cubicBezTo>
                    <a:cubicBezTo>
                      <a:pt x="401" y="224"/>
                      <a:pt x="416" y="238"/>
                      <a:pt x="416" y="256"/>
                    </a:cubicBezTo>
                    <a:lnTo>
                      <a:pt x="416" y="341"/>
                    </a:lnTo>
                    <a:close/>
                    <a:moveTo>
                      <a:pt x="352" y="341"/>
                    </a:moveTo>
                    <a:cubicBezTo>
                      <a:pt x="352" y="347"/>
                      <a:pt x="347" y="352"/>
                      <a:pt x="341" y="352"/>
                    </a:cubicBezTo>
                    <a:cubicBezTo>
                      <a:pt x="335" y="352"/>
                      <a:pt x="330" y="347"/>
                      <a:pt x="330" y="341"/>
                    </a:cubicBezTo>
                    <a:cubicBezTo>
                      <a:pt x="330" y="335"/>
                      <a:pt x="335" y="330"/>
                      <a:pt x="341" y="330"/>
                    </a:cubicBezTo>
                    <a:cubicBezTo>
                      <a:pt x="347" y="330"/>
                      <a:pt x="352" y="335"/>
                      <a:pt x="352" y="341"/>
                    </a:cubicBezTo>
                    <a:close/>
                    <a:moveTo>
                      <a:pt x="394" y="256"/>
                    </a:moveTo>
                    <a:cubicBezTo>
                      <a:pt x="394" y="330"/>
                      <a:pt x="394" y="330"/>
                      <a:pt x="394" y="330"/>
                    </a:cubicBezTo>
                    <a:cubicBezTo>
                      <a:pt x="371" y="330"/>
                      <a:pt x="371" y="330"/>
                      <a:pt x="371" y="330"/>
                    </a:cubicBezTo>
                    <a:cubicBezTo>
                      <a:pt x="367" y="318"/>
                      <a:pt x="355" y="309"/>
                      <a:pt x="341" y="309"/>
                    </a:cubicBezTo>
                    <a:cubicBezTo>
                      <a:pt x="337" y="309"/>
                      <a:pt x="334" y="310"/>
                      <a:pt x="330" y="311"/>
                    </a:cubicBezTo>
                    <a:cubicBezTo>
                      <a:pt x="330" y="245"/>
                      <a:pt x="330" y="245"/>
                      <a:pt x="330" y="245"/>
                    </a:cubicBezTo>
                    <a:cubicBezTo>
                      <a:pt x="384" y="245"/>
                      <a:pt x="384" y="245"/>
                      <a:pt x="384" y="245"/>
                    </a:cubicBezTo>
                    <a:cubicBezTo>
                      <a:pt x="390" y="245"/>
                      <a:pt x="394" y="250"/>
                      <a:pt x="394" y="256"/>
                    </a:cubicBezTo>
                    <a:close/>
                    <a:moveTo>
                      <a:pt x="170" y="341"/>
                    </a:moveTo>
                    <a:cubicBezTo>
                      <a:pt x="170" y="347"/>
                      <a:pt x="166" y="352"/>
                      <a:pt x="160" y="352"/>
                    </a:cubicBezTo>
                    <a:cubicBezTo>
                      <a:pt x="154" y="352"/>
                      <a:pt x="149" y="347"/>
                      <a:pt x="149" y="341"/>
                    </a:cubicBezTo>
                    <a:cubicBezTo>
                      <a:pt x="149" y="335"/>
                      <a:pt x="154" y="330"/>
                      <a:pt x="160" y="330"/>
                    </a:cubicBezTo>
                    <a:cubicBezTo>
                      <a:pt x="166" y="330"/>
                      <a:pt x="170" y="335"/>
                      <a:pt x="170" y="341"/>
                    </a:cubicBezTo>
                    <a:close/>
                  </a:path>
                </a:pathLst>
              </a:custGeom>
              <a:solidFill>
                <a:srgbClr val="006DDA"/>
              </a:solidFill>
              <a:ln>
                <a:noFill/>
              </a:ln>
            </p:spPr>
            <p:txBody>
              <a:bodyPr vert="horz" wrap="square" lIns="200869" tIns="100435" rIns="200869" bIns="100435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3600" dirty="0"/>
              </a:p>
            </p:txBody>
          </p:sp>
        </p:grpSp>
      </p:grpSp>
      <p:sp>
        <p:nvSpPr>
          <p:cNvPr id="87" name="Rectangle 86">
            <a:extLst>
              <a:ext uri="{FF2B5EF4-FFF2-40B4-BE49-F238E27FC236}">
                <a16:creationId xmlns:a16="http://schemas.microsoft.com/office/drawing/2014/main" id="{5A41A1A9-CD76-7866-36D4-A0FCF0AC4701}"/>
              </a:ext>
            </a:extLst>
          </p:cNvPr>
          <p:cNvSpPr/>
          <p:nvPr/>
        </p:nvSpPr>
        <p:spPr>
          <a:xfrm>
            <a:off x="4144908" y="3806078"/>
            <a:ext cx="4894620" cy="665351"/>
          </a:xfrm>
          <a:custGeom>
            <a:avLst/>
            <a:gdLst>
              <a:gd name="connsiteX0" fmla="*/ 0 w 4894620"/>
              <a:gd name="connsiteY0" fmla="*/ 0 h 665351"/>
              <a:gd name="connsiteX1" fmla="*/ 601339 w 4894620"/>
              <a:gd name="connsiteY1" fmla="*/ 0 h 665351"/>
              <a:gd name="connsiteX2" fmla="*/ 1202678 w 4894620"/>
              <a:gd name="connsiteY2" fmla="*/ 0 h 665351"/>
              <a:gd name="connsiteX3" fmla="*/ 1804017 w 4894620"/>
              <a:gd name="connsiteY3" fmla="*/ 0 h 665351"/>
              <a:gd name="connsiteX4" fmla="*/ 2356410 w 4894620"/>
              <a:gd name="connsiteY4" fmla="*/ 0 h 665351"/>
              <a:gd name="connsiteX5" fmla="*/ 3104588 w 4894620"/>
              <a:gd name="connsiteY5" fmla="*/ 0 h 665351"/>
              <a:gd name="connsiteX6" fmla="*/ 3656980 w 4894620"/>
              <a:gd name="connsiteY6" fmla="*/ 0 h 665351"/>
              <a:gd name="connsiteX7" fmla="*/ 4894620 w 4894620"/>
              <a:gd name="connsiteY7" fmla="*/ 0 h 665351"/>
              <a:gd name="connsiteX8" fmla="*/ 4894620 w 4894620"/>
              <a:gd name="connsiteY8" fmla="*/ 665351 h 665351"/>
              <a:gd name="connsiteX9" fmla="*/ 4097496 w 4894620"/>
              <a:gd name="connsiteY9" fmla="*/ 665351 h 665351"/>
              <a:gd name="connsiteX10" fmla="*/ 3349319 w 4894620"/>
              <a:gd name="connsiteY10" fmla="*/ 665351 h 665351"/>
              <a:gd name="connsiteX11" fmla="*/ 2747980 w 4894620"/>
              <a:gd name="connsiteY11" fmla="*/ 665351 h 665351"/>
              <a:gd name="connsiteX12" fmla="*/ 1999802 w 4894620"/>
              <a:gd name="connsiteY12" fmla="*/ 665351 h 665351"/>
              <a:gd name="connsiteX13" fmla="*/ 1202678 w 4894620"/>
              <a:gd name="connsiteY13" fmla="*/ 665351 h 665351"/>
              <a:gd name="connsiteX14" fmla="*/ 0 w 4894620"/>
              <a:gd name="connsiteY14" fmla="*/ 665351 h 665351"/>
              <a:gd name="connsiteX15" fmla="*/ 0 w 4894620"/>
              <a:gd name="connsiteY15" fmla="*/ 0 h 6653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4894620" h="665351" fill="none" extrusionOk="0">
                <a:moveTo>
                  <a:pt x="0" y="0"/>
                </a:moveTo>
                <a:cubicBezTo>
                  <a:pt x="290465" y="21366"/>
                  <a:pt x="334422" y="-23353"/>
                  <a:pt x="601339" y="0"/>
                </a:cubicBezTo>
                <a:cubicBezTo>
                  <a:pt x="868256" y="23353"/>
                  <a:pt x="1053399" y="-1871"/>
                  <a:pt x="1202678" y="0"/>
                </a:cubicBezTo>
                <a:cubicBezTo>
                  <a:pt x="1351957" y="1871"/>
                  <a:pt x="1602776" y="-5460"/>
                  <a:pt x="1804017" y="0"/>
                </a:cubicBezTo>
                <a:cubicBezTo>
                  <a:pt x="2005258" y="5460"/>
                  <a:pt x="2168186" y="14411"/>
                  <a:pt x="2356410" y="0"/>
                </a:cubicBezTo>
                <a:cubicBezTo>
                  <a:pt x="2544634" y="-14411"/>
                  <a:pt x="2825539" y="34464"/>
                  <a:pt x="3104588" y="0"/>
                </a:cubicBezTo>
                <a:cubicBezTo>
                  <a:pt x="3383637" y="-34464"/>
                  <a:pt x="3438794" y="130"/>
                  <a:pt x="3656980" y="0"/>
                </a:cubicBezTo>
                <a:cubicBezTo>
                  <a:pt x="3875166" y="-130"/>
                  <a:pt x="4541486" y="24483"/>
                  <a:pt x="4894620" y="0"/>
                </a:cubicBezTo>
                <a:cubicBezTo>
                  <a:pt x="4867687" y="235389"/>
                  <a:pt x="4907285" y="469455"/>
                  <a:pt x="4894620" y="665351"/>
                </a:cubicBezTo>
                <a:cubicBezTo>
                  <a:pt x="4717955" y="644352"/>
                  <a:pt x="4419789" y="655357"/>
                  <a:pt x="4097496" y="665351"/>
                </a:cubicBezTo>
                <a:cubicBezTo>
                  <a:pt x="3775203" y="675345"/>
                  <a:pt x="3631895" y="671079"/>
                  <a:pt x="3349319" y="665351"/>
                </a:cubicBezTo>
                <a:cubicBezTo>
                  <a:pt x="3066743" y="659623"/>
                  <a:pt x="3027363" y="663207"/>
                  <a:pt x="2747980" y="665351"/>
                </a:cubicBezTo>
                <a:cubicBezTo>
                  <a:pt x="2468597" y="667495"/>
                  <a:pt x="2292422" y="689596"/>
                  <a:pt x="1999802" y="665351"/>
                </a:cubicBezTo>
                <a:cubicBezTo>
                  <a:pt x="1707182" y="641106"/>
                  <a:pt x="1521778" y="667040"/>
                  <a:pt x="1202678" y="665351"/>
                </a:cubicBezTo>
                <a:cubicBezTo>
                  <a:pt x="883578" y="663662"/>
                  <a:pt x="448283" y="638740"/>
                  <a:pt x="0" y="665351"/>
                </a:cubicBezTo>
                <a:cubicBezTo>
                  <a:pt x="-15833" y="386049"/>
                  <a:pt x="-27146" y="242373"/>
                  <a:pt x="0" y="0"/>
                </a:cubicBezTo>
                <a:close/>
              </a:path>
              <a:path w="4894620" h="665351" stroke="0" extrusionOk="0">
                <a:moveTo>
                  <a:pt x="0" y="0"/>
                </a:moveTo>
                <a:cubicBezTo>
                  <a:pt x="192958" y="-10376"/>
                  <a:pt x="350273" y="-21026"/>
                  <a:pt x="601339" y="0"/>
                </a:cubicBezTo>
                <a:cubicBezTo>
                  <a:pt x="852405" y="21026"/>
                  <a:pt x="1084476" y="-26157"/>
                  <a:pt x="1398463" y="0"/>
                </a:cubicBezTo>
                <a:cubicBezTo>
                  <a:pt x="1712450" y="26157"/>
                  <a:pt x="1863967" y="-23126"/>
                  <a:pt x="2048748" y="0"/>
                </a:cubicBezTo>
                <a:cubicBezTo>
                  <a:pt x="2233530" y="23126"/>
                  <a:pt x="2475764" y="28786"/>
                  <a:pt x="2650087" y="0"/>
                </a:cubicBezTo>
                <a:cubicBezTo>
                  <a:pt x="2824410" y="-28786"/>
                  <a:pt x="2985230" y="-1225"/>
                  <a:pt x="3202480" y="0"/>
                </a:cubicBezTo>
                <a:cubicBezTo>
                  <a:pt x="3419730" y="1225"/>
                  <a:pt x="3501574" y="22514"/>
                  <a:pt x="3754873" y="0"/>
                </a:cubicBezTo>
                <a:cubicBezTo>
                  <a:pt x="4008172" y="-22514"/>
                  <a:pt x="4594890" y="39585"/>
                  <a:pt x="4894620" y="0"/>
                </a:cubicBezTo>
                <a:cubicBezTo>
                  <a:pt x="4885870" y="292794"/>
                  <a:pt x="4920609" y="479638"/>
                  <a:pt x="4894620" y="665351"/>
                </a:cubicBezTo>
                <a:cubicBezTo>
                  <a:pt x="4678339" y="661245"/>
                  <a:pt x="4563843" y="670096"/>
                  <a:pt x="4244335" y="665351"/>
                </a:cubicBezTo>
                <a:cubicBezTo>
                  <a:pt x="3924828" y="660606"/>
                  <a:pt x="3708239" y="702244"/>
                  <a:pt x="3496157" y="665351"/>
                </a:cubicBezTo>
                <a:cubicBezTo>
                  <a:pt x="3284075" y="628458"/>
                  <a:pt x="3094758" y="648829"/>
                  <a:pt x="2845872" y="665351"/>
                </a:cubicBezTo>
                <a:cubicBezTo>
                  <a:pt x="2596986" y="681873"/>
                  <a:pt x="2350203" y="659167"/>
                  <a:pt x="2195587" y="665351"/>
                </a:cubicBezTo>
                <a:cubicBezTo>
                  <a:pt x="2040971" y="671535"/>
                  <a:pt x="1698285" y="680358"/>
                  <a:pt x="1398463" y="665351"/>
                </a:cubicBezTo>
                <a:cubicBezTo>
                  <a:pt x="1098641" y="650344"/>
                  <a:pt x="907865" y="672549"/>
                  <a:pt x="748178" y="665351"/>
                </a:cubicBezTo>
                <a:cubicBezTo>
                  <a:pt x="588492" y="658153"/>
                  <a:pt x="327531" y="652813"/>
                  <a:pt x="0" y="665351"/>
                </a:cubicBezTo>
                <a:cubicBezTo>
                  <a:pt x="-5451" y="479555"/>
                  <a:pt x="-11244" y="154943"/>
                  <a:pt x="0" y="0"/>
                </a:cubicBezTo>
                <a:close/>
              </a:path>
            </a:pathLst>
          </a:custGeom>
          <a:solidFill>
            <a:schemeClr val="bg1"/>
          </a:solidFill>
          <a:ln>
            <a:solidFill>
              <a:schemeClr val="accent1">
                <a:lumMod val="75000"/>
                <a:lumOff val="25000"/>
              </a:schemeClr>
            </a:solidFill>
            <a:extLst>
              <a:ext uri="{C807C97D-BFC1-408E-A445-0C87EB9F89A2}">
                <ask:lineSketchStyleProps xmlns:ask="http://schemas.microsoft.com/office/drawing/2018/sketchyshapes" sd="3748851001">
                  <a:prstGeom prst="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  <a:effectLst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324000" rtlCol="0" anchor="ctr"/>
          <a:lstStyle/>
          <a:p>
            <a:r>
              <a:rPr lang="en-US" sz="1200" b="1" dirty="0">
                <a:solidFill>
                  <a:schemeClr val="accent1"/>
                </a:solidFill>
              </a:rPr>
              <a:t>Measurement </a:t>
            </a:r>
            <a:r>
              <a:rPr lang="en-US" sz="1200" dirty="0">
                <a:solidFill>
                  <a:schemeClr val="accent1"/>
                </a:solidFill>
              </a:rPr>
              <a:t>and </a:t>
            </a:r>
            <a:r>
              <a:rPr lang="en-US" sz="1200" b="1" dirty="0">
                <a:solidFill>
                  <a:schemeClr val="accent1"/>
                </a:solidFill>
              </a:rPr>
              <a:t>control </a:t>
            </a:r>
            <a:r>
              <a:rPr lang="en-US" sz="1200" dirty="0">
                <a:solidFill>
                  <a:schemeClr val="accent1"/>
                </a:solidFill>
              </a:rPr>
              <a:t>of </a:t>
            </a:r>
            <a:r>
              <a:rPr lang="en-US" sz="1200" b="1" dirty="0">
                <a:solidFill>
                  <a:schemeClr val="accent1"/>
                </a:solidFill>
              </a:rPr>
              <a:t>vehicles environmental impact </a:t>
            </a:r>
            <a:r>
              <a:rPr lang="en-US" sz="1200" dirty="0">
                <a:solidFill>
                  <a:schemeClr val="accent1"/>
                </a:solidFill>
              </a:rPr>
              <a:t>and support in managing the </a:t>
            </a:r>
            <a:r>
              <a:rPr lang="en-US" sz="1200" b="1" dirty="0">
                <a:solidFill>
                  <a:schemeClr val="accent1"/>
                </a:solidFill>
              </a:rPr>
              <a:t>ecological transition</a:t>
            </a:r>
          </a:p>
        </p:txBody>
      </p:sp>
      <p:grpSp>
        <p:nvGrpSpPr>
          <p:cNvPr id="99" name="Group 98">
            <a:extLst>
              <a:ext uri="{FF2B5EF4-FFF2-40B4-BE49-F238E27FC236}">
                <a16:creationId xmlns:a16="http://schemas.microsoft.com/office/drawing/2014/main" id="{F6DFEBA5-EBFA-6D91-9FBD-7C8FCC2A9806}"/>
              </a:ext>
            </a:extLst>
          </p:cNvPr>
          <p:cNvGrpSpPr/>
          <p:nvPr/>
        </p:nvGrpSpPr>
        <p:grpSpPr>
          <a:xfrm>
            <a:off x="3844275" y="3907499"/>
            <a:ext cx="462509" cy="462509"/>
            <a:chOff x="3844275" y="3901222"/>
            <a:chExt cx="462509" cy="462509"/>
          </a:xfrm>
        </p:grpSpPr>
        <p:sp>
          <p:nvSpPr>
            <p:cNvPr id="89" name="Oval 88">
              <a:extLst>
                <a:ext uri="{FF2B5EF4-FFF2-40B4-BE49-F238E27FC236}">
                  <a16:creationId xmlns:a16="http://schemas.microsoft.com/office/drawing/2014/main" id="{4FCD7F06-64CC-551F-32BB-CA3E18E823C9}"/>
                </a:ext>
              </a:extLst>
            </p:cNvPr>
            <p:cNvSpPr/>
            <p:nvPr/>
          </p:nvSpPr>
          <p:spPr>
            <a:xfrm>
              <a:off x="3844275" y="3901222"/>
              <a:ext cx="462509" cy="462509"/>
            </a:xfrm>
            <a:prstGeom prst="ellipse">
              <a:avLst/>
            </a:prstGeom>
            <a:solidFill>
              <a:srgbClr val="006DDA"/>
            </a:solidFill>
            <a:ln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sz="1600" dirty="0">
                <a:solidFill>
                  <a:schemeClr val="bg1"/>
                </a:solidFill>
              </a:endParaRPr>
            </a:p>
          </p:txBody>
        </p:sp>
        <p:pic>
          <p:nvPicPr>
            <p:cNvPr id="98" name="Graphic 97" descr="Open hand with plant outline">
              <a:extLst>
                <a:ext uri="{FF2B5EF4-FFF2-40B4-BE49-F238E27FC236}">
                  <a16:creationId xmlns:a16="http://schemas.microsoft.com/office/drawing/2014/main" id="{1BC932EE-D927-1306-41B5-E3CD4397D753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3881632" y="3938579"/>
              <a:ext cx="387795" cy="387795"/>
            </a:xfrm>
            <a:prstGeom prst="rect">
              <a:avLst/>
            </a:prstGeom>
          </p:spPr>
        </p:pic>
      </p:grpSp>
      <p:sp>
        <p:nvSpPr>
          <p:cNvPr id="46" name="Arrow: Pentagon 45">
            <a:extLst>
              <a:ext uri="{FF2B5EF4-FFF2-40B4-BE49-F238E27FC236}">
                <a16:creationId xmlns:a16="http://schemas.microsoft.com/office/drawing/2014/main" id="{D6AA1555-EAFA-63E6-F18E-D20B6DCA7B0B}"/>
              </a:ext>
            </a:extLst>
          </p:cNvPr>
          <p:cNvSpPr/>
          <p:nvPr/>
        </p:nvSpPr>
        <p:spPr>
          <a:xfrm>
            <a:off x="221310" y="3646032"/>
            <a:ext cx="3673443" cy="715719"/>
          </a:xfrm>
          <a:custGeom>
            <a:avLst/>
            <a:gdLst>
              <a:gd name="connsiteX0" fmla="*/ 0 w 3673443"/>
              <a:gd name="connsiteY0" fmla="*/ 0 h 715719"/>
              <a:gd name="connsiteX1" fmla="*/ 592168 w 3673443"/>
              <a:gd name="connsiteY1" fmla="*/ 0 h 715719"/>
              <a:gd name="connsiteX2" fmla="*/ 1323670 w 3673443"/>
              <a:gd name="connsiteY2" fmla="*/ 0 h 715719"/>
              <a:gd name="connsiteX3" fmla="*/ 2090005 w 3673443"/>
              <a:gd name="connsiteY3" fmla="*/ 0 h 715719"/>
              <a:gd name="connsiteX4" fmla="*/ 2856340 w 3673443"/>
              <a:gd name="connsiteY4" fmla="*/ 0 h 715719"/>
              <a:gd name="connsiteX5" fmla="*/ 3483341 w 3673443"/>
              <a:gd name="connsiteY5" fmla="*/ 0 h 715719"/>
              <a:gd name="connsiteX6" fmla="*/ 3673443 w 3673443"/>
              <a:gd name="connsiteY6" fmla="*/ 357860 h 715719"/>
              <a:gd name="connsiteX7" fmla="*/ 3483341 w 3673443"/>
              <a:gd name="connsiteY7" fmla="*/ 715719 h 715719"/>
              <a:gd name="connsiteX8" fmla="*/ 2856340 w 3673443"/>
              <a:gd name="connsiteY8" fmla="*/ 715719 h 715719"/>
              <a:gd name="connsiteX9" fmla="*/ 2264172 w 3673443"/>
              <a:gd name="connsiteY9" fmla="*/ 715719 h 715719"/>
              <a:gd name="connsiteX10" fmla="*/ 1672004 w 3673443"/>
              <a:gd name="connsiteY10" fmla="*/ 715719 h 715719"/>
              <a:gd name="connsiteX11" fmla="*/ 1079836 w 3673443"/>
              <a:gd name="connsiteY11" fmla="*/ 715719 h 715719"/>
              <a:gd name="connsiteX12" fmla="*/ 0 w 3673443"/>
              <a:gd name="connsiteY12" fmla="*/ 715719 h 715719"/>
              <a:gd name="connsiteX13" fmla="*/ 0 w 3673443"/>
              <a:gd name="connsiteY13" fmla="*/ 379331 h 715719"/>
              <a:gd name="connsiteX14" fmla="*/ 0 w 3673443"/>
              <a:gd name="connsiteY14" fmla="*/ 0 h 7157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3673443" h="715719" fill="none" extrusionOk="0">
                <a:moveTo>
                  <a:pt x="0" y="0"/>
                </a:moveTo>
                <a:cubicBezTo>
                  <a:pt x="171161" y="21498"/>
                  <a:pt x="353914" y="-10414"/>
                  <a:pt x="592168" y="0"/>
                </a:cubicBezTo>
                <a:cubicBezTo>
                  <a:pt x="830422" y="10414"/>
                  <a:pt x="1141411" y="-5979"/>
                  <a:pt x="1323670" y="0"/>
                </a:cubicBezTo>
                <a:cubicBezTo>
                  <a:pt x="1505929" y="5979"/>
                  <a:pt x="1919696" y="30921"/>
                  <a:pt x="2090005" y="0"/>
                </a:cubicBezTo>
                <a:cubicBezTo>
                  <a:pt x="2260314" y="-30921"/>
                  <a:pt x="2519410" y="35394"/>
                  <a:pt x="2856340" y="0"/>
                </a:cubicBezTo>
                <a:cubicBezTo>
                  <a:pt x="3193271" y="-35394"/>
                  <a:pt x="3196180" y="17478"/>
                  <a:pt x="3483341" y="0"/>
                </a:cubicBezTo>
                <a:cubicBezTo>
                  <a:pt x="3536351" y="132619"/>
                  <a:pt x="3626188" y="268337"/>
                  <a:pt x="3673443" y="357860"/>
                </a:cubicBezTo>
                <a:cubicBezTo>
                  <a:pt x="3619186" y="437494"/>
                  <a:pt x="3544272" y="612644"/>
                  <a:pt x="3483341" y="715719"/>
                </a:cubicBezTo>
                <a:cubicBezTo>
                  <a:pt x="3310072" y="705724"/>
                  <a:pt x="3136134" y="716472"/>
                  <a:pt x="2856340" y="715719"/>
                </a:cubicBezTo>
                <a:cubicBezTo>
                  <a:pt x="2576546" y="714966"/>
                  <a:pt x="2465369" y="734827"/>
                  <a:pt x="2264172" y="715719"/>
                </a:cubicBezTo>
                <a:cubicBezTo>
                  <a:pt x="2062975" y="696611"/>
                  <a:pt x="1858508" y="692263"/>
                  <a:pt x="1672004" y="715719"/>
                </a:cubicBezTo>
                <a:cubicBezTo>
                  <a:pt x="1485500" y="739175"/>
                  <a:pt x="1218309" y="686706"/>
                  <a:pt x="1079836" y="715719"/>
                </a:cubicBezTo>
                <a:cubicBezTo>
                  <a:pt x="941363" y="744732"/>
                  <a:pt x="524511" y="667369"/>
                  <a:pt x="0" y="715719"/>
                </a:cubicBezTo>
                <a:cubicBezTo>
                  <a:pt x="6283" y="554393"/>
                  <a:pt x="-4599" y="520651"/>
                  <a:pt x="0" y="379331"/>
                </a:cubicBezTo>
                <a:cubicBezTo>
                  <a:pt x="4599" y="238011"/>
                  <a:pt x="15457" y="150665"/>
                  <a:pt x="0" y="0"/>
                </a:cubicBezTo>
                <a:close/>
              </a:path>
              <a:path w="3673443" h="715719" stroke="0" extrusionOk="0">
                <a:moveTo>
                  <a:pt x="0" y="0"/>
                </a:moveTo>
                <a:cubicBezTo>
                  <a:pt x="131994" y="26459"/>
                  <a:pt x="469035" y="-27335"/>
                  <a:pt x="592168" y="0"/>
                </a:cubicBezTo>
                <a:cubicBezTo>
                  <a:pt x="715301" y="27335"/>
                  <a:pt x="1022855" y="-12016"/>
                  <a:pt x="1288836" y="0"/>
                </a:cubicBezTo>
                <a:cubicBezTo>
                  <a:pt x="1554817" y="12016"/>
                  <a:pt x="1721450" y="6397"/>
                  <a:pt x="1950671" y="0"/>
                </a:cubicBezTo>
                <a:cubicBezTo>
                  <a:pt x="2179892" y="-6397"/>
                  <a:pt x="2373175" y="322"/>
                  <a:pt x="2717006" y="0"/>
                </a:cubicBezTo>
                <a:cubicBezTo>
                  <a:pt x="3060837" y="-322"/>
                  <a:pt x="3322498" y="-31187"/>
                  <a:pt x="3483341" y="0"/>
                </a:cubicBezTo>
                <a:cubicBezTo>
                  <a:pt x="3570827" y="179650"/>
                  <a:pt x="3641673" y="267331"/>
                  <a:pt x="3673443" y="357860"/>
                </a:cubicBezTo>
                <a:cubicBezTo>
                  <a:pt x="3584631" y="534195"/>
                  <a:pt x="3519483" y="619674"/>
                  <a:pt x="3483341" y="715719"/>
                </a:cubicBezTo>
                <a:cubicBezTo>
                  <a:pt x="3207530" y="692755"/>
                  <a:pt x="2914007" y="679774"/>
                  <a:pt x="2717006" y="715719"/>
                </a:cubicBezTo>
                <a:cubicBezTo>
                  <a:pt x="2520006" y="751664"/>
                  <a:pt x="2273453" y="744958"/>
                  <a:pt x="1950671" y="715719"/>
                </a:cubicBezTo>
                <a:cubicBezTo>
                  <a:pt x="1627889" y="686480"/>
                  <a:pt x="1572542" y="736700"/>
                  <a:pt x="1288836" y="715719"/>
                </a:cubicBezTo>
                <a:cubicBezTo>
                  <a:pt x="1005131" y="694738"/>
                  <a:pt x="591290" y="762826"/>
                  <a:pt x="0" y="715719"/>
                </a:cubicBezTo>
                <a:cubicBezTo>
                  <a:pt x="6018" y="584944"/>
                  <a:pt x="-7986" y="467289"/>
                  <a:pt x="0" y="365017"/>
                </a:cubicBezTo>
                <a:cubicBezTo>
                  <a:pt x="7986" y="262745"/>
                  <a:pt x="-17435" y="80288"/>
                  <a:pt x="0" y="0"/>
                </a:cubicBezTo>
                <a:close/>
              </a:path>
            </a:pathLst>
          </a:custGeom>
          <a:solidFill>
            <a:schemeClr val="bg1"/>
          </a:solidFill>
          <a:ln>
            <a:solidFill>
              <a:schemeClr val="tx1">
                <a:lumMod val="50000"/>
                <a:lumOff val="50000"/>
              </a:schemeClr>
            </a:solidFill>
            <a:extLst>
              <a:ext uri="{C807C97D-BFC1-408E-A445-0C87EB9F89A2}">
                <ask:lineSketchStyleProps xmlns:ask="http://schemas.microsoft.com/office/drawing/2018/sketchyshapes" sd="1901803019">
                  <a:prstGeom prst="homePlate">
                    <a:avLst>
                      <a:gd name="adj" fmla="val 26561"/>
                    </a:avLst>
                  </a:prstGeom>
                  <ask:type>
                    <ask:lineSketchFreehand/>
                  </ask:type>
                </ask:lineSketchStyleProps>
              </a:ext>
            </a:extLst>
          </a:ln>
          <a:effectLst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90000" rIns="90000" rtlCol="0" anchor="ctr"/>
          <a:lstStyle/>
          <a:p>
            <a:pPr algn="ctr"/>
            <a:r>
              <a:rPr lang="en-US" sz="1600" dirty="0">
                <a:solidFill>
                  <a:schemeClr val="tx1"/>
                </a:solidFill>
              </a:rPr>
              <a:t>These </a:t>
            </a:r>
            <a:r>
              <a:rPr lang="en-US" sz="1600" b="1" dirty="0">
                <a:solidFill>
                  <a:schemeClr val="tx1"/>
                </a:solidFill>
              </a:rPr>
              <a:t>data</a:t>
            </a:r>
            <a:r>
              <a:rPr lang="en-US" sz="1600" dirty="0">
                <a:solidFill>
                  <a:schemeClr val="tx1"/>
                </a:solidFill>
              </a:rPr>
              <a:t> can </a:t>
            </a:r>
            <a:r>
              <a:rPr lang="en-US" sz="1600" b="1" dirty="0">
                <a:solidFill>
                  <a:schemeClr val="tx1"/>
                </a:solidFill>
              </a:rPr>
              <a:t>enable </a:t>
            </a:r>
            <a:r>
              <a:rPr lang="en-US" sz="1600" dirty="0">
                <a:solidFill>
                  <a:schemeClr val="tx1"/>
                </a:solidFill>
              </a:rPr>
              <a:t>a </a:t>
            </a:r>
          </a:p>
          <a:p>
            <a:pPr algn="ctr"/>
            <a:r>
              <a:rPr lang="en-US" sz="1600" b="1" dirty="0">
                <a:solidFill>
                  <a:schemeClr val="tx1"/>
                </a:solidFill>
              </a:rPr>
              <a:t>wide range </a:t>
            </a:r>
            <a:r>
              <a:rPr lang="en-US" sz="1600" dirty="0">
                <a:solidFill>
                  <a:schemeClr val="tx1"/>
                </a:solidFill>
              </a:rPr>
              <a:t>of </a:t>
            </a:r>
            <a:r>
              <a:rPr lang="en-US" sz="1600" b="1" dirty="0">
                <a:solidFill>
                  <a:schemeClr val="tx1"/>
                </a:solidFill>
              </a:rPr>
              <a:t>services</a:t>
            </a:r>
            <a:r>
              <a:rPr lang="en-US" sz="1600" dirty="0">
                <a:solidFill>
                  <a:schemeClr val="tx1"/>
                </a:solidFill>
              </a:rPr>
              <a:t>:</a:t>
            </a:r>
          </a:p>
        </p:txBody>
      </p:sp>
    </p:spTree>
    <p:extLst>
      <p:ext uri="{BB962C8B-B14F-4D97-AF65-F5344CB8AC3E}">
        <p14:creationId xmlns:p14="http://schemas.microsoft.com/office/powerpoint/2010/main" val="303051706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3" name="think-cell data - do not delete" hidden="1">
            <a:extLst>
              <a:ext uri="{FF2B5EF4-FFF2-40B4-BE49-F238E27FC236}">
                <a16:creationId xmlns:a16="http://schemas.microsoft.com/office/drawing/2014/main" id="{12692210-B2AE-81DF-57B9-CBF71707DC5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059886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4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2692210-B2AE-81DF-57B9-CBF71707DC5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108" name="Group 1107">
            <a:extLst>
              <a:ext uri="{FF2B5EF4-FFF2-40B4-BE49-F238E27FC236}">
                <a16:creationId xmlns:a16="http://schemas.microsoft.com/office/drawing/2014/main" id="{A0A17A35-14C6-177D-A289-A84A7F360C89}"/>
              </a:ext>
            </a:extLst>
          </p:cNvPr>
          <p:cNvGrpSpPr>
            <a:grpSpLocks noChangeAspect="1"/>
          </p:cNvGrpSpPr>
          <p:nvPr/>
        </p:nvGrpSpPr>
        <p:grpSpPr>
          <a:xfrm>
            <a:off x="1" y="467353"/>
            <a:ext cx="9144000" cy="4345947"/>
            <a:chOff x="252000" y="476446"/>
            <a:chExt cx="8664292" cy="4356000"/>
          </a:xfrm>
        </p:grpSpPr>
        <p:pic>
          <p:nvPicPr>
            <p:cNvPr id="1109" name="Picture 58" descr="2017 International Students’ Employment Panel">
              <a:extLst>
                <a:ext uri="{FF2B5EF4-FFF2-40B4-BE49-F238E27FC236}">
                  <a16:creationId xmlns:a16="http://schemas.microsoft.com/office/drawing/2014/main" id="{1C0683AD-B874-42EA-5A7B-B729A61908B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duotone>
                <a:schemeClr val="accent1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52000" y="476446"/>
              <a:ext cx="8664292" cy="4356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110" name="Rectangle 1109">
              <a:extLst>
                <a:ext uri="{FF2B5EF4-FFF2-40B4-BE49-F238E27FC236}">
                  <a16:creationId xmlns:a16="http://schemas.microsoft.com/office/drawing/2014/main" id="{FD4B410D-5E49-DBDB-4D20-39C7BD73111F}"/>
                </a:ext>
              </a:extLst>
            </p:cNvPr>
            <p:cNvSpPr/>
            <p:nvPr/>
          </p:nvSpPr>
          <p:spPr>
            <a:xfrm>
              <a:off x="252000" y="476446"/>
              <a:ext cx="8664292" cy="4356000"/>
            </a:xfrm>
            <a:prstGeom prst="rect">
              <a:avLst/>
            </a:prstGeom>
            <a:solidFill>
              <a:schemeClr val="bg1">
                <a:alpha val="94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US"/>
            </a:p>
          </p:txBody>
        </p:sp>
      </p:grpSp>
      <p:sp>
        <p:nvSpPr>
          <p:cNvPr id="41" name="Rectangle: Rounded Corners 40">
            <a:extLst>
              <a:ext uri="{FF2B5EF4-FFF2-40B4-BE49-F238E27FC236}">
                <a16:creationId xmlns:a16="http://schemas.microsoft.com/office/drawing/2014/main" id="{69EF3EFA-8B1A-E22F-A9EF-B8D846BB3111}"/>
              </a:ext>
            </a:extLst>
          </p:cNvPr>
          <p:cNvSpPr/>
          <p:nvPr/>
        </p:nvSpPr>
        <p:spPr>
          <a:xfrm>
            <a:off x="198020" y="966800"/>
            <a:ext cx="4243336" cy="3595861"/>
          </a:xfrm>
          <a:prstGeom prst="roundRect">
            <a:avLst>
              <a:gd name="adj" fmla="val 10083"/>
            </a:avLst>
          </a:prstGeom>
          <a:gradFill flip="none" rotWithShape="1">
            <a:gsLst>
              <a:gs pos="0">
                <a:schemeClr val="bg1"/>
              </a:gs>
              <a:gs pos="20000">
                <a:schemeClr val="accent5">
                  <a:lumMod val="20000"/>
                  <a:lumOff val="80000"/>
                </a:schemeClr>
              </a:gs>
              <a:gs pos="100000">
                <a:schemeClr val="accent5">
                  <a:lumMod val="40000"/>
                  <a:lumOff val="6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sz="1400" b="1" dirty="0">
                <a:solidFill>
                  <a:schemeClr val="tx1"/>
                </a:solidFill>
              </a:rPr>
              <a:t>Involved </a:t>
            </a:r>
            <a:r>
              <a:rPr lang="en-US" sz="1400" dirty="0">
                <a:solidFill>
                  <a:schemeClr val="tx1"/>
                </a:solidFill>
              </a:rPr>
              <a:t>with </a:t>
            </a:r>
            <a:r>
              <a:rPr lang="en-US" sz="1400" b="1" dirty="0">
                <a:solidFill>
                  <a:schemeClr val="tx1"/>
                </a:solidFill>
              </a:rPr>
              <a:t>associations</a:t>
            </a:r>
            <a:r>
              <a:rPr lang="en-US" sz="1400" dirty="0">
                <a:solidFill>
                  <a:schemeClr val="tx1"/>
                </a:solidFill>
              </a:rPr>
              <a:t>, </a:t>
            </a:r>
            <a:r>
              <a:rPr lang="en-US" sz="1400" b="1" dirty="0">
                <a:solidFill>
                  <a:schemeClr val="tx1"/>
                </a:solidFill>
              </a:rPr>
              <a:t>public entities </a:t>
            </a:r>
            <a:r>
              <a:rPr lang="en-US" sz="1400" dirty="0">
                <a:solidFill>
                  <a:schemeClr val="tx1"/>
                </a:solidFill>
              </a:rPr>
              <a:t>and </a:t>
            </a:r>
            <a:r>
              <a:rPr lang="en-US" sz="1400" b="1" dirty="0">
                <a:solidFill>
                  <a:schemeClr val="tx1"/>
                </a:solidFill>
              </a:rPr>
              <a:t>organizations </a:t>
            </a:r>
            <a:r>
              <a:rPr lang="en-US" sz="1400" dirty="0">
                <a:solidFill>
                  <a:schemeClr val="tx1"/>
                </a:solidFill>
              </a:rPr>
              <a:t>that operate and focus on </a:t>
            </a:r>
            <a:r>
              <a:rPr lang="en-US" sz="1400" b="1" dirty="0">
                <a:solidFill>
                  <a:schemeClr val="tx1"/>
                </a:solidFill>
              </a:rPr>
              <a:t>issues functional </a:t>
            </a:r>
            <a:r>
              <a:rPr lang="en-US" sz="1400" dirty="0">
                <a:solidFill>
                  <a:schemeClr val="tx1"/>
                </a:solidFill>
              </a:rPr>
              <a:t>to </a:t>
            </a:r>
            <a:r>
              <a:rPr lang="en-US" sz="1400" b="1" dirty="0" err="1">
                <a:solidFill>
                  <a:schemeClr val="tx1"/>
                </a:solidFill>
              </a:rPr>
              <a:t>UnipolTech's</a:t>
            </a:r>
            <a:r>
              <a:rPr lang="en-US" sz="1400" b="1" dirty="0">
                <a:solidFill>
                  <a:schemeClr val="tx1"/>
                </a:solidFill>
              </a:rPr>
              <a:t> core business</a:t>
            </a:r>
          </a:p>
        </p:txBody>
      </p:sp>
      <p:sp>
        <p:nvSpPr>
          <p:cNvPr id="44" name="Rectangle: Top Corners Rounded 43">
            <a:extLst>
              <a:ext uri="{FF2B5EF4-FFF2-40B4-BE49-F238E27FC236}">
                <a16:creationId xmlns:a16="http://schemas.microsoft.com/office/drawing/2014/main" id="{E62E05E3-71F6-7901-DF39-6FDA7B56A226}"/>
              </a:ext>
            </a:extLst>
          </p:cNvPr>
          <p:cNvSpPr/>
          <p:nvPr/>
        </p:nvSpPr>
        <p:spPr>
          <a:xfrm>
            <a:off x="4702644" y="966800"/>
            <a:ext cx="4243336" cy="3595861"/>
          </a:xfrm>
          <a:prstGeom prst="round2SameRect">
            <a:avLst>
              <a:gd name="adj1" fmla="val 12126"/>
              <a:gd name="adj2" fmla="val 0"/>
            </a:avLst>
          </a:prstGeom>
          <a:gradFill flip="none" rotWithShape="1">
            <a:gsLst>
              <a:gs pos="0">
                <a:schemeClr val="bg1"/>
              </a:gs>
              <a:gs pos="20000">
                <a:srgbClr val="F5F5F5"/>
              </a:gs>
              <a:gs pos="100000">
                <a:schemeClr val="bg2">
                  <a:lumMod val="20000"/>
                  <a:lumOff val="8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sz="1400" b="1" dirty="0">
                <a:solidFill>
                  <a:schemeClr val="tx1"/>
                </a:solidFill>
              </a:rPr>
              <a:t>Promotes research </a:t>
            </a:r>
            <a:r>
              <a:rPr lang="en-US" sz="1400" dirty="0">
                <a:solidFill>
                  <a:schemeClr val="tx1"/>
                </a:solidFill>
              </a:rPr>
              <a:t>and </a:t>
            </a:r>
            <a:r>
              <a:rPr lang="en-US" sz="1400" b="1" dirty="0">
                <a:solidFill>
                  <a:schemeClr val="tx1"/>
                </a:solidFill>
              </a:rPr>
              <a:t>talent scouting </a:t>
            </a:r>
            <a:r>
              <a:rPr lang="en-US" sz="1400" dirty="0">
                <a:solidFill>
                  <a:schemeClr val="tx1"/>
                </a:solidFill>
              </a:rPr>
              <a:t>thanks to an </a:t>
            </a:r>
            <a:r>
              <a:rPr lang="en-US" sz="1400" b="1" dirty="0">
                <a:solidFill>
                  <a:schemeClr val="tx1"/>
                </a:solidFill>
              </a:rPr>
              <a:t>Open Innovation Network </a:t>
            </a:r>
            <a:r>
              <a:rPr lang="en-US" sz="1400" dirty="0">
                <a:solidFill>
                  <a:schemeClr val="tx1"/>
                </a:solidFill>
              </a:rPr>
              <a:t>of </a:t>
            </a:r>
            <a:r>
              <a:rPr lang="en-US" sz="1400" b="1" dirty="0">
                <a:solidFill>
                  <a:schemeClr val="tx1"/>
                </a:solidFill>
              </a:rPr>
              <a:t>universities</a:t>
            </a:r>
          </a:p>
          <a:p>
            <a:pPr algn="ctr"/>
            <a:endParaRPr lang="en-US" sz="1400" b="1" dirty="0">
              <a:solidFill>
                <a:schemeClr val="tx1"/>
              </a:solidFill>
            </a:endParaRP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28D604B7-0E04-4D9E-32A0-514FFCCFBFE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98DEE5-5424-45CB-8336-3215AFBD0173}" type="slidenum">
              <a:rPr lang="it-IT" smtClean="0"/>
              <a:pPr/>
              <a:t>5</a:t>
            </a:fld>
            <a:endParaRPr lang="it-IT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CD8B4F-729C-3E17-576C-E53D8225D52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he strategic value of </a:t>
            </a:r>
            <a:r>
              <a:rPr lang="en-US" dirty="0" err="1"/>
              <a:t>UnipolTech</a:t>
            </a:r>
            <a:r>
              <a:rPr lang="en-US" dirty="0"/>
              <a:t> makes it a point of reference for technology and data</a:t>
            </a:r>
          </a:p>
        </p:txBody>
      </p:sp>
      <p:pic>
        <p:nvPicPr>
          <p:cNvPr id="55" name="Picture 5" descr="Unipol Tech">
            <a:extLst>
              <a:ext uri="{FF2B5EF4-FFF2-40B4-BE49-F238E27FC236}">
                <a16:creationId xmlns:a16="http://schemas.microsoft.com/office/drawing/2014/main" id="{0C303044-CB96-1154-9DF0-9A92D6D4FDA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861772" y="585315"/>
            <a:ext cx="1420462" cy="2922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48" name="Rectangle 1047">
            <a:extLst>
              <a:ext uri="{FF2B5EF4-FFF2-40B4-BE49-F238E27FC236}">
                <a16:creationId xmlns:a16="http://schemas.microsoft.com/office/drawing/2014/main" id="{2536E04B-E970-1BB7-0924-852810212682}"/>
              </a:ext>
            </a:extLst>
          </p:cNvPr>
          <p:cNvSpPr/>
          <p:nvPr/>
        </p:nvSpPr>
        <p:spPr>
          <a:xfrm>
            <a:off x="390899" y="2270591"/>
            <a:ext cx="3857578" cy="1121367"/>
          </a:xfrm>
          <a:prstGeom prst="rect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chemeClr val="tx1"/>
                </a:solidFill>
              </a:rPr>
              <a:t>The Urban Mobility Council </a:t>
            </a:r>
            <a:r>
              <a:rPr lang="en-US" sz="1400" dirty="0">
                <a:solidFill>
                  <a:schemeClr val="tx1"/>
                </a:solidFill>
              </a:rPr>
              <a:t>is a </a:t>
            </a:r>
            <a:r>
              <a:rPr lang="en-US" sz="1400" b="1" dirty="0">
                <a:solidFill>
                  <a:schemeClr val="tx1"/>
                </a:solidFill>
              </a:rPr>
              <a:t>permanent platform </a:t>
            </a:r>
            <a:r>
              <a:rPr lang="en-US" sz="1400" dirty="0">
                <a:solidFill>
                  <a:schemeClr val="tx1"/>
                </a:solidFill>
              </a:rPr>
              <a:t>for </a:t>
            </a:r>
            <a:r>
              <a:rPr lang="en-US" sz="1400" b="1" dirty="0">
                <a:solidFill>
                  <a:schemeClr val="tx1"/>
                </a:solidFill>
              </a:rPr>
              <a:t>discussion</a:t>
            </a:r>
            <a:r>
              <a:rPr lang="en-US" sz="1400" dirty="0">
                <a:solidFill>
                  <a:schemeClr val="tx1"/>
                </a:solidFill>
              </a:rPr>
              <a:t>, </a:t>
            </a:r>
            <a:r>
              <a:rPr lang="en-US" sz="1400" b="1" dirty="0">
                <a:solidFill>
                  <a:schemeClr val="tx1"/>
                </a:solidFill>
              </a:rPr>
              <a:t>brainstorming </a:t>
            </a:r>
            <a:r>
              <a:rPr lang="en-US" sz="1400" dirty="0">
                <a:solidFill>
                  <a:schemeClr val="tx1"/>
                </a:solidFill>
              </a:rPr>
              <a:t>and </a:t>
            </a:r>
            <a:r>
              <a:rPr lang="en-US" sz="1400" b="1" dirty="0">
                <a:solidFill>
                  <a:schemeClr val="tx1"/>
                </a:solidFill>
              </a:rPr>
              <a:t>research</a:t>
            </a:r>
            <a:r>
              <a:rPr lang="en-US" sz="1400" dirty="0">
                <a:solidFill>
                  <a:schemeClr val="tx1"/>
                </a:solidFill>
              </a:rPr>
              <a:t>, in order to stimulate reflection on </a:t>
            </a:r>
            <a:r>
              <a:rPr lang="en-US" sz="1400" b="1" dirty="0">
                <a:solidFill>
                  <a:schemeClr val="tx1"/>
                </a:solidFill>
              </a:rPr>
              <a:t>new forms of mobility</a:t>
            </a:r>
          </a:p>
        </p:txBody>
      </p:sp>
      <p:grpSp>
        <p:nvGrpSpPr>
          <p:cNvPr id="1104" name="Group 1103">
            <a:extLst>
              <a:ext uri="{FF2B5EF4-FFF2-40B4-BE49-F238E27FC236}">
                <a16:creationId xmlns:a16="http://schemas.microsoft.com/office/drawing/2014/main" id="{99374887-084A-A154-225C-44D8F9EA7546}"/>
              </a:ext>
            </a:extLst>
          </p:cNvPr>
          <p:cNvGrpSpPr/>
          <p:nvPr/>
        </p:nvGrpSpPr>
        <p:grpSpPr>
          <a:xfrm>
            <a:off x="4718646" y="1919564"/>
            <a:ext cx="4211336" cy="2646817"/>
            <a:chOff x="5199038" y="2039874"/>
            <a:chExt cx="3828490" cy="2406197"/>
          </a:xfrm>
        </p:grpSpPr>
        <p:sp>
          <p:nvSpPr>
            <p:cNvPr id="1051" name="Freeform 28">
              <a:extLst>
                <a:ext uri="{FF2B5EF4-FFF2-40B4-BE49-F238E27FC236}">
                  <a16:creationId xmlns:a16="http://schemas.microsoft.com/office/drawing/2014/main" id="{BD760CB3-2725-CB37-B5B7-A6D9556EFFEC}"/>
                </a:ext>
              </a:extLst>
            </p:cNvPr>
            <p:cNvSpPr>
              <a:spLocks/>
            </p:cNvSpPr>
            <p:nvPr/>
          </p:nvSpPr>
          <p:spPr bwMode="auto">
            <a:xfrm rot="21257338">
              <a:off x="6362215" y="2039874"/>
              <a:ext cx="1439221" cy="2254863"/>
            </a:xfrm>
            <a:custGeom>
              <a:avLst/>
              <a:gdLst>
                <a:gd name="T0" fmla="*/ 818 w 1069"/>
                <a:gd name="T1" fmla="*/ 1484 h 1518"/>
                <a:gd name="T2" fmla="*/ 591 w 1069"/>
                <a:gd name="T3" fmla="*/ 1399 h 1518"/>
                <a:gd name="T4" fmla="*/ 56 w 1069"/>
                <a:gd name="T5" fmla="*/ 474 h 1518"/>
                <a:gd name="T6" fmla="*/ 494 w 1069"/>
                <a:gd name="T7" fmla="*/ 221 h 1518"/>
                <a:gd name="T8" fmla="*/ 1028 w 1069"/>
                <a:gd name="T9" fmla="*/ 1146 h 1518"/>
                <a:gd name="T10" fmla="*/ 995 w 1069"/>
                <a:gd name="T11" fmla="*/ 1372 h 1518"/>
                <a:gd name="T12" fmla="*/ 1022 w 1069"/>
                <a:gd name="T13" fmla="*/ 1392 h 1518"/>
                <a:gd name="T14" fmla="*/ 1062 w 1069"/>
                <a:gd name="T15" fmla="*/ 1144 h 1518"/>
                <a:gd name="T16" fmla="*/ 513 w 1069"/>
                <a:gd name="T17" fmla="*/ 193 h 1518"/>
                <a:gd name="T18" fmla="*/ 23 w 1069"/>
                <a:gd name="T19" fmla="*/ 476 h 1518"/>
                <a:gd name="T20" fmla="*/ 572 w 1069"/>
                <a:gd name="T21" fmla="*/ 1427 h 1518"/>
                <a:gd name="T22" fmla="*/ 825 w 1069"/>
                <a:gd name="T23" fmla="*/ 1517 h 1518"/>
                <a:gd name="T24" fmla="*/ 818 w 1069"/>
                <a:gd name="T25" fmla="*/ 1484 h 15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069" h="1518">
                  <a:moveTo>
                    <a:pt x="818" y="1484"/>
                  </a:moveTo>
                  <a:cubicBezTo>
                    <a:pt x="753" y="1483"/>
                    <a:pt x="676" y="1456"/>
                    <a:pt x="591" y="1399"/>
                  </a:cubicBezTo>
                  <a:cubicBezTo>
                    <a:pt x="317" y="1217"/>
                    <a:pt x="77" y="802"/>
                    <a:pt x="56" y="474"/>
                  </a:cubicBezTo>
                  <a:cubicBezTo>
                    <a:pt x="36" y="155"/>
                    <a:pt x="228" y="44"/>
                    <a:pt x="494" y="221"/>
                  </a:cubicBezTo>
                  <a:cubicBezTo>
                    <a:pt x="767" y="403"/>
                    <a:pt x="1007" y="819"/>
                    <a:pt x="1028" y="1146"/>
                  </a:cubicBezTo>
                  <a:cubicBezTo>
                    <a:pt x="1034" y="1240"/>
                    <a:pt x="1022" y="1316"/>
                    <a:pt x="995" y="1372"/>
                  </a:cubicBezTo>
                  <a:cubicBezTo>
                    <a:pt x="1005" y="1378"/>
                    <a:pt x="1014" y="1384"/>
                    <a:pt x="1022" y="1392"/>
                  </a:cubicBezTo>
                  <a:cubicBezTo>
                    <a:pt x="1054" y="1331"/>
                    <a:pt x="1069" y="1247"/>
                    <a:pt x="1062" y="1144"/>
                  </a:cubicBezTo>
                  <a:cubicBezTo>
                    <a:pt x="1040" y="806"/>
                    <a:pt x="795" y="381"/>
                    <a:pt x="513" y="193"/>
                  </a:cubicBezTo>
                  <a:cubicBezTo>
                    <a:pt x="224" y="0"/>
                    <a:pt x="0" y="129"/>
                    <a:pt x="23" y="476"/>
                  </a:cubicBezTo>
                  <a:cubicBezTo>
                    <a:pt x="45" y="814"/>
                    <a:pt x="290" y="1239"/>
                    <a:pt x="572" y="1427"/>
                  </a:cubicBezTo>
                  <a:cubicBezTo>
                    <a:pt x="665" y="1489"/>
                    <a:pt x="751" y="1518"/>
                    <a:pt x="825" y="1517"/>
                  </a:cubicBezTo>
                  <a:cubicBezTo>
                    <a:pt x="821" y="1506"/>
                    <a:pt x="819" y="1495"/>
                    <a:pt x="818" y="1484"/>
                  </a:cubicBezTo>
                  <a:close/>
                </a:path>
              </a:pathLst>
            </a:custGeom>
            <a:solidFill>
              <a:srgbClr val="19495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0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1052" name="Freeform 279">
              <a:extLst>
                <a:ext uri="{FF2B5EF4-FFF2-40B4-BE49-F238E27FC236}">
                  <a16:creationId xmlns:a16="http://schemas.microsoft.com/office/drawing/2014/main" id="{19843724-FB1D-EAAD-A554-C57056F9EB36}"/>
                </a:ext>
              </a:extLst>
            </p:cNvPr>
            <p:cNvSpPr>
              <a:spLocks/>
            </p:cNvSpPr>
            <p:nvPr/>
          </p:nvSpPr>
          <p:spPr bwMode="auto">
            <a:xfrm rot="154709">
              <a:off x="6362215" y="2141825"/>
              <a:ext cx="1432731" cy="2304246"/>
            </a:xfrm>
            <a:custGeom>
              <a:avLst/>
              <a:gdLst>
                <a:gd name="T0" fmla="*/ 1028 w 1064"/>
                <a:gd name="T1" fmla="*/ 307 h 1551"/>
                <a:gd name="T2" fmla="*/ 1028 w 1064"/>
                <a:gd name="T3" fmla="*/ 405 h 1551"/>
                <a:gd name="T4" fmla="*/ 494 w 1064"/>
                <a:gd name="T5" fmla="*/ 1330 h 1551"/>
                <a:gd name="T6" fmla="*/ 56 w 1064"/>
                <a:gd name="T7" fmla="*/ 1077 h 1551"/>
                <a:gd name="T8" fmla="*/ 591 w 1064"/>
                <a:gd name="T9" fmla="*/ 152 h 1551"/>
                <a:gd name="T10" fmla="*/ 970 w 1064"/>
                <a:gd name="T11" fmla="*/ 139 h 1551"/>
                <a:gd name="T12" fmla="*/ 1000 w 1064"/>
                <a:gd name="T13" fmla="*/ 123 h 1551"/>
                <a:gd name="T14" fmla="*/ 572 w 1064"/>
                <a:gd name="T15" fmla="*/ 124 h 1551"/>
                <a:gd name="T16" fmla="*/ 23 w 1064"/>
                <a:gd name="T17" fmla="*/ 1075 h 1551"/>
                <a:gd name="T18" fmla="*/ 513 w 1064"/>
                <a:gd name="T19" fmla="*/ 1358 h 1551"/>
                <a:gd name="T20" fmla="*/ 1062 w 1064"/>
                <a:gd name="T21" fmla="*/ 407 h 1551"/>
                <a:gd name="T22" fmla="*/ 1061 w 1064"/>
                <a:gd name="T23" fmla="*/ 301 h 1551"/>
                <a:gd name="T24" fmla="*/ 1028 w 1064"/>
                <a:gd name="T25" fmla="*/ 307 h 15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064" h="1551">
                  <a:moveTo>
                    <a:pt x="1028" y="307"/>
                  </a:moveTo>
                  <a:cubicBezTo>
                    <a:pt x="1030" y="337"/>
                    <a:pt x="1031" y="370"/>
                    <a:pt x="1028" y="405"/>
                  </a:cubicBezTo>
                  <a:cubicBezTo>
                    <a:pt x="1007" y="733"/>
                    <a:pt x="767" y="1148"/>
                    <a:pt x="494" y="1330"/>
                  </a:cubicBezTo>
                  <a:cubicBezTo>
                    <a:pt x="228" y="1508"/>
                    <a:pt x="36" y="1396"/>
                    <a:pt x="56" y="1077"/>
                  </a:cubicBezTo>
                  <a:cubicBezTo>
                    <a:pt x="77" y="750"/>
                    <a:pt x="317" y="334"/>
                    <a:pt x="591" y="152"/>
                  </a:cubicBezTo>
                  <a:cubicBezTo>
                    <a:pt x="757" y="41"/>
                    <a:pt x="895" y="43"/>
                    <a:pt x="970" y="139"/>
                  </a:cubicBezTo>
                  <a:cubicBezTo>
                    <a:pt x="979" y="132"/>
                    <a:pt x="989" y="127"/>
                    <a:pt x="1000" y="123"/>
                  </a:cubicBezTo>
                  <a:cubicBezTo>
                    <a:pt x="916" y="9"/>
                    <a:pt x="758" y="0"/>
                    <a:pt x="572" y="124"/>
                  </a:cubicBezTo>
                  <a:cubicBezTo>
                    <a:pt x="290" y="312"/>
                    <a:pt x="45" y="737"/>
                    <a:pt x="23" y="1075"/>
                  </a:cubicBezTo>
                  <a:cubicBezTo>
                    <a:pt x="0" y="1422"/>
                    <a:pt x="224" y="1551"/>
                    <a:pt x="513" y="1358"/>
                  </a:cubicBezTo>
                  <a:cubicBezTo>
                    <a:pt x="795" y="1170"/>
                    <a:pt x="1040" y="745"/>
                    <a:pt x="1062" y="407"/>
                  </a:cubicBezTo>
                  <a:cubicBezTo>
                    <a:pt x="1064" y="369"/>
                    <a:pt x="1064" y="334"/>
                    <a:pt x="1061" y="301"/>
                  </a:cubicBezTo>
                  <a:cubicBezTo>
                    <a:pt x="1050" y="305"/>
                    <a:pt x="1039" y="307"/>
                    <a:pt x="1028" y="307"/>
                  </a:cubicBezTo>
                  <a:close/>
                </a:path>
              </a:pathLst>
            </a:custGeom>
            <a:solidFill>
              <a:srgbClr val="19495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0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1053" name="Freeform 280">
              <a:extLst>
                <a:ext uri="{FF2B5EF4-FFF2-40B4-BE49-F238E27FC236}">
                  <a16:creationId xmlns:a16="http://schemas.microsoft.com/office/drawing/2014/main" id="{C7A0F638-5195-F699-3D19-F355F054C394}"/>
                </a:ext>
              </a:extLst>
            </p:cNvPr>
            <p:cNvSpPr>
              <a:spLocks/>
            </p:cNvSpPr>
            <p:nvPr/>
          </p:nvSpPr>
          <p:spPr bwMode="auto">
            <a:xfrm>
              <a:off x="6098027" y="2619216"/>
              <a:ext cx="2106468" cy="1248501"/>
            </a:xfrm>
            <a:custGeom>
              <a:avLst/>
              <a:gdLst>
                <a:gd name="T0" fmla="*/ 1318 w 1628"/>
                <a:gd name="T1" fmla="*/ 150 h 866"/>
                <a:gd name="T2" fmla="*/ 219 w 1628"/>
                <a:gd name="T3" fmla="*/ 150 h 866"/>
                <a:gd name="T4" fmla="*/ 0 w 1628"/>
                <a:gd name="T5" fmla="*/ 357 h 866"/>
                <a:gd name="T6" fmla="*/ 2 w 1628"/>
                <a:gd name="T7" fmla="*/ 357 h 866"/>
                <a:gd name="T8" fmla="*/ 34 w 1628"/>
                <a:gd name="T9" fmla="*/ 364 h 866"/>
                <a:gd name="T10" fmla="*/ 234 w 1628"/>
                <a:gd name="T11" fmla="*/ 180 h 866"/>
                <a:gd name="T12" fmla="*/ 1303 w 1628"/>
                <a:gd name="T13" fmla="*/ 180 h 866"/>
                <a:gd name="T14" fmla="*/ 1303 w 1628"/>
                <a:gd name="T15" fmla="*/ 686 h 866"/>
                <a:gd name="T16" fmla="*/ 234 w 1628"/>
                <a:gd name="T17" fmla="*/ 686 h 866"/>
                <a:gd name="T18" fmla="*/ 34 w 1628"/>
                <a:gd name="T19" fmla="*/ 502 h 866"/>
                <a:gd name="T20" fmla="*/ 2 w 1628"/>
                <a:gd name="T21" fmla="*/ 509 h 866"/>
                <a:gd name="T22" fmla="*/ 0 w 1628"/>
                <a:gd name="T23" fmla="*/ 509 h 866"/>
                <a:gd name="T24" fmla="*/ 219 w 1628"/>
                <a:gd name="T25" fmla="*/ 716 h 866"/>
                <a:gd name="T26" fmla="*/ 1318 w 1628"/>
                <a:gd name="T27" fmla="*/ 716 h 866"/>
                <a:gd name="T28" fmla="*/ 1318 w 1628"/>
                <a:gd name="T29" fmla="*/ 150 h 8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628" h="866">
                  <a:moveTo>
                    <a:pt x="1318" y="150"/>
                  </a:moveTo>
                  <a:cubicBezTo>
                    <a:pt x="1014" y="0"/>
                    <a:pt x="523" y="0"/>
                    <a:pt x="219" y="150"/>
                  </a:cubicBezTo>
                  <a:cubicBezTo>
                    <a:pt x="102" y="208"/>
                    <a:pt x="29" y="281"/>
                    <a:pt x="0" y="357"/>
                  </a:cubicBezTo>
                  <a:cubicBezTo>
                    <a:pt x="1" y="357"/>
                    <a:pt x="2" y="357"/>
                    <a:pt x="2" y="357"/>
                  </a:cubicBezTo>
                  <a:cubicBezTo>
                    <a:pt x="14" y="357"/>
                    <a:pt x="24" y="359"/>
                    <a:pt x="34" y="364"/>
                  </a:cubicBezTo>
                  <a:cubicBezTo>
                    <a:pt x="61" y="297"/>
                    <a:pt x="128" y="233"/>
                    <a:pt x="234" y="180"/>
                  </a:cubicBezTo>
                  <a:cubicBezTo>
                    <a:pt x="529" y="35"/>
                    <a:pt x="1008" y="35"/>
                    <a:pt x="1303" y="180"/>
                  </a:cubicBezTo>
                  <a:cubicBezTo>
                    <a:pt x="1588" y="321"/>
                    <a:pt x="1588" y="545"/>
                    <a:pt x="1303" y="686"/>
                  </a:cubicBezTo>
                  <a:cubicBezTo>
                    <a:pt x="1008" y="832"/>
                    <a:pt x="529" y="832"/>
                    <a:pt x="234" y="686"/>
                  </a:cubicBezTo>
                  <a:cubicBezTo>
                    <a:pt x="128" y="633"/>
                    <a:pt x="61" y="569"/>
                    <a:pt x="34" y="502"/>
                  </a:cubicBezTo>
                  <a:cubicBezTo>
                    <a:pt x="24" y="507"/>
                    <a:pt x="14" y="509"/>
                    <a:pt x="2" y="509"/>
                  </a:cubicBezTo>
                  <a:cubicBezTo>
                    <a:pt x="2" y="509"/>
                    <a:pt x="1" y="509"/>
                    <a:pt x="0" y="509"/>
                  </a:cubicBezTo>
                  <a:cubicBezTo>
                    <a:pt x="29" y="586"/>
                    <a:pt x="102" y="658"/>
                    <a:pt x="219" y="716"/>
                  </a:cubicBezTo>
                  <a:cubicBezTo>
                    <a:pt x="523" y="866"/>
                    <a:pt x="1014" y="866"/>
                    <a:pt x="1318" y="716"/>
                  </a:cubicBezTo>
                  <a:cubicBezTo>
                    <a:pt x="1628" y="562"/>
                    <a:pt x="1628" y="304"/>
                    <a:pt x="1318" y="150"/>
                  </a:cubicBezTo>
                  <a:close/>
                </a:path>
              </a:pathLst>
            </a:custGeom>
            <a:solidFill>
              <a:srgbClr val="19495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0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1054" name="Oval 1053">
              <a:extLst>
                <a:ext uri="{FF2B5EF4-FFF2-40B4-BE49-F238E27FC236}">
                  <a16:creationId xmlns:a16="http://schemas.microsoft.com/office/drawing/2014/main" id="{9F9AA859-BCD1-5EFC-935C-D1F5DD214D64}"/>
                </a:ext>
              </a:extLst>
            </p:cNvPr>
            <p:cNvSpPr/>
            <p:nvPr/>
          </p:nvSpPr>
          <p:spPr>
            <a:xfrm>
              <a:off x="6302072" y="3864718"/>
              <a:ext cx="449645" cy="463269"/>
            </a:xfrm>
            <a:prstGeom prst="ellipse">
              <a:avLst/>
            </a:prstGeom>
            <a:solidFill>
              <a:schemeClr val="bg1"/>
            </a:solidFill>
            <a:ln w="3810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 sz="1050"/>
            </a:p>
          </p:txBody>
        </p:sp>
        <p:sp>
          <p:nvSpPr>
            <p:cNvPr id="1055" name="Oval 1054">
              <a:extLst>
                <a:ext uri="{FF2B5EF4-FFF2-40B4-BE49-F238E27FC236}">
                  <a16:creationId xmlns:a16="http://schemas.microsoft.com/office/drawing/2014/main" id="{519463C4-C861-7F1D-AA45-6EF1105AF3A7}"/>
                </a:ext>
              </a:extLst>
            </p:cNvPr>
            <p:cNvSpPr/>
            <p:nvPr/>
          </p:nvSpPr>
          <p:spPr>
            <a:xfrm>
              <a:off x="6676912" y="2801705"/>
              <a:ext cx="864200" cy="899289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/>
            </a:p>
          </p:txBody>
        </p:sp>
        <p:pic>
          <p:nvPicPr>
            <p:cNvPr id="1056" name="Picture 5" descr="Unipol Tech">
              <a:extLst>
                <a:ext uri="{FF2B5EF4-FFF2-40B4-BE49-F238E27FC236}">
                  <a16:creationId xmlns:a16="http://schemas.microsoft.com/office/drawing/2014/main" id="{01C698A5-8427-78C0-E5B8-994AECC09537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752670" y="2994020"/>
              <a:ext cx="712683" cy="15256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068" name="文本框 340">
              <a:extLst>
                <a:ext uri="{FF2B5EF4-FFF2-40B4-BE49-F238E27FC236}">
                  <a16:creationId xmlns:a16="http://schemas.microsoft.com/office/drawing/2014/main" id="{FA14B3F7-87E2-1837-0FFD-3F9AD45BDBA6}"/>
                </a:ext>
              </a:extLst>
            </p:cNvPr>
            <p:cNvSpPr txBox="1"/>
            <p:nvPr/>
          </p:nvSpPr>
          <p:spPr>
            <a:xfrm>
              <a:off x="6691387" y="3180512"/>
              <a:ext cx="835251" cy="2769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Pct val="100000"/>
                <a:buFontTx/>
                <a:buNone/>
                <a:tabLst/>
                <a:defRPr/>
              </a:pPr>
              <a:r>
                <a:rPr kumimoji="0" lang="en-US" altLang="zh-CN" sz="900" b="1" i="0" u="none" strike="noStrike" kern="1200" cap="none" spc="0" normalizeH="0" baseline="0" noProof="0">
                  <a:ln>
                    <a:noFill/>
                  </a:ln>
                  <a:effectLst/>
                  <a:uLnTx/>
                  <a:uFillTx/>
                </a:rPr>
                <a:t>Open Innovation</a:t>
              </a:r>
              <a:r>
                <a:rPr lang="en-US" altLang="zh-CN" sz="900" b="1"/>
                <a:t> Network</a:t>
              </a:r>
              <a:endParaRPr kumimoji="0" lang="en-US" altLang="zh-CN" sz="900" b="1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</a:endParaRPr>
            </a:p>
          </p:txBody>
        </p:sp>
        <p:grpSp>
          <p:nvGrpSpPr>
            <p:cNvPr id="1069" name="Group 1068">
              <a:extLst>
                <a:ext uri="{FF2B5EF4-FFF2-40B4-BE49-F238E27FC236}">
                  <a16:creationId xmlns:a16="http://schemas.microsoft.com/office/drawing/2014/main" id="{0D237BC2-9F8C-B533-1204-9F835A422AC8}"/>
                </a:ext>
              </a:extLst>
            </p:cNvPr>
            <p:cNvGrpSpPr/>
            <p:nvPr/>
          </p:nvGrpSpPr>
          <p:grpSpPr>
            <a:xfrm>
              <a:off x="7566052" y="2235388"/>
              <a:ext cx="449645" cy="463269"/>
              <a:chOff x="5193822" y="1030680"/>
              <a:chExt cx="720000" cy="720000"/>
            </a:xfrm>
          </p:grpSpPr>
          <p:sp>
            <p:nvSpPr>
              <p:cNvPr id="1070" name="Oval 1069">
                <a:extLst>
                  <a:ext uri="{FF2B5EF4-FFF2-40B4-BE49-F238E27FC236}">
                    <a16:creationId xmlns:a16="http://schemas.microsoft.com/office/drawing/2014/main" id="{6B15AD71-AFBA-59A3-465C-2723189E4884}"/>
                  </a:ext>
                </a:extLst>
              </p:cNvPr>
              <p:cNvSpPr/>
              <p:nvPr/>
            </p:nvSpPr>
            <p:spPr>
              <a:xfrm>
                <a:off x="5193822" y="1030680"/>
                <a:ext cx="720000" cy="720000"/>
              </a:xfrm>
              <a:prstGeom prst="ellipse">
                <a:avLst/>
              </a:prstGeom>
              <a:solidFill>
                <a:schemeClr val="bg1"/>
              </a:solidFill>
              <a:ln w="38100"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it-IT" sz="1050"/>
              </a:p>
            </p:txBody>
          </p:sp>
          <p:pic>
            <p:nvPicPr>
              <p:cNvPr id="1071" name="Picture 4" descr="Massachusetts Institute of Technology - Wikipedia">
                <a:extLst>
                  <a:ext uri="{FF2B5EF4-FFF2-40B4-BE49-F238E27FC236}">
                    <a16:creationId xmlns:a16="http://schemas.microsoft.com/office/drawing/2014/main" id="{DDD23119-4BB2-036C-4FB3-128FAF054D8C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7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5210295" y="1048680"/>
                <a:ext cx="687054" cy="684000"/>
              </a:xfrm>
              <a:prstGeom prst="flowChartConnector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grpSp>
          <p:nvGrpSpPr>
            <p:cNvPr id="1072" name="Group 1071">
              <a:extLst>
                <a:ext uri="{FF2B5EF4-FFF2-40B4-BE49-F238E27FC236}">
                  <a16:creationId xmlns:a16="http://schemas.microsoft.com/office/drawing/2014/main" id="{7D160EB1-FA15-5D72-1008-52D9987EEB4F}"/>
                </a:ext>
              </a:extLst>
            </p:cNvPr>
            <p:cNvGrpSpPr/>
            <p:nvPr/>
          </p:nvGrpSpPr>
          <p:grpSpPr>
            <a:xfrm>
              <a:off x="6179393" y="2235388"/>
              <a:ext cx="449645" cy="463269"/>
              <a:chOff x="2973414" y="1030680"/>
              <a:chExt cx="720000" cy="720000"/>
            </a:xfrm>
          </p:grpSpPr>
          <p:sp>
            <p:nvSpPr>
              <p:cNvPr id="1073" name="Oval 1072">
                <a:extLst>
                  <a:ext uri="{FF2B5EF4-FFF2-40B4-BE49-F238E27FC236}">
                    <a16:creationId xmlns:a16="http://schemas.microsoft.com/office/drawing/2014/main" id="{224A5DF1-32EF-1AC8-5426-E3A43CC5EF22}"/>
                  </a:ext>
                </a:extLst>
              </p:cNvPr>
              <p:cNvSpPr/>
              <p:nvPr/>
            </p:nvSpPr>
            <p:spPr>
              <a:xfrm>
                <a:off x="2973414" y="1030680"/>
                <a:ext cx="720000" cy="720000"/>
              </a:xfrm>
              <a:prstGeom prst="ellipse">
                <a:avLst/>
              </a:prstGeom>
              <a:solidFill>
                <a:schemeClr val="bg1"/>
              </a:solidFill>
              <a:ln w="38100"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it-IT" sz="1050"/>
              </a:p>
            </p:txBody>
          </p:sp>
          <p:pic>
            <p:nvPicPr>
              <p:cNvPr id="1074" name="Picture 6" descr="Università di Bologna - Wikipedia">
                <a:extLst>
                  <a:ext uri="{FF2B5EF4-FFF2-40B4-BE49-F238E27FC236}">
                    <a16:creationId xmlns:a16="http://schemas.microsoft.com/office/drawing/2014/main" id="{CBE35E2D-C077-E3A6-FB84-1C1FD5540A2C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8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991414" y="1048680"/>
                <a:ext cx="684000" cy="684000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grpSp>
          <p:nvGrpSpPr>
            <p:cNvPr id="1075" name="Group 1074">
              <a:extLst>
                <a:ext uri="{FF2B5EF4-FFF2-40B4-BE49-F238E27FC236}">
                  <a16:creationId xmlns:a16="http://schemas.microsoft.com/office/drawing/2014/main" id="{67795F54-708E-8E95-5334-1FD55A8C05A1}"/>
                </a:ext>
              </a:extLst>
            </p:cNvPr>
            <p:cNvGrpSpPr/>
            <p:nvPr/>
          </p:nvGrpSpPr>
          <p:grpSpPr>
            <a:xfrm>
              <a:off x="5904814" y="3033768"/>
              <a:ext cx="449645" cy="463269"/>
              <a:chOff x="2533741" y="2271502"/>
              <a:chExt cx="720000" cy="720000"/>
            </a:xfrm>
          </p:grpSpPr>
          <p:sp>
            <p:nvSpPr>
              <p:cNvPr id="1076" name="Oval 1075">
                <a:extLst>
                  <a:ext uri="{FF2B5EF4-FFF2-40B4-BE49-F238E27FC236}">
                    <a16:creationId xmlns:a16="http://schemas.microsoft.com/office/drawing/2014/main" id="{122A789B-9559-52E0-82F8-2D069F56A40E}"/>
                  </a:ext>
                </a:extLst>
              </p:cNvPr>
              <p:cNvSpPr/>
              <p:nvPr/>
            </p:nvSpPr>
            <p:spPr>
              <a:xfrm>
                <a:off x="2533741" y="2271502"/>
                <a:ext cx="720000" cy="720000"/>
              </a:xfrm>
              <a:prstGeom prst="ellipse">
                <a:avLst/>
              </a:prstGeom>
              <a:solidFill>
                <a:schemeClr val="bg1"/>
              </a:solidFill>
              <a:ln w="38100"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it-IT" sz="1050"/>
              </a:p>
            </p:txBody>
          </p:sp>
          <p:pic>
            <p:nvPicPr>
              <p:cNvPr id="1077" name="Picture 8">
                <a:extLst>
                  <a:ext uri="{FF2B5EF4-FFF2-40B4-BE49-F238E27FC236}">
                    <a16:creationId xmlns:a16="http://schemas.microsoft.com/office/drawing/2014/main" id="{8C7BD68F-D287-6B03-3034-DB338E17962B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9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551741" y="2289502"/>
                <a:ext cx="684000" cy="684000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grpSp>
          <p:nvGrpSpPr>
            <p:cNvPr id="1078" name="Group 1077">
              <a:extLst>
                <a:ext uri="{FF2B5EF4-FFF2-40B4-BE49-F238E27FC236}">
                  <a16:creationId xmlns:a16="http://schemas.microsoft.com/office/drawing/2014/main" id="{BF8BA5A0-90A1-6286-7197-BCB36D538D2C}"/>
                </a:ext>
              </a:extLst>
            </p:cNvPr>
            <p:cNvGrpSpPr/>
            <p:nvPr/>
          </p:nvGrpSpPr>
          <p:grpSpPr>
            <a:xfrm>
              <a:off x="7871151" y="3033768"/>
              <a:ext cx="449645" cy="463269"/>
              <a:chOff x="5682366" y="2271502"/>
              <a:chExt cx="720000" cy="720000"/>
            </a:xfrm>
          </p:grpSpPr>
          <p:sp>
            <p:nvSpPr>
              <p:cNvPr id="1079" name="Oval 1078">
                <a:extLst>
                  <a:ext uri="{FF2B5EF4-FFF2-40B4-BE49-F238E27FC236}">
                    <a16:creationId xmlns:a16="http://schemas.microsoft.com/office/drawing/2014/main" id="{4B48B6A1-6437-9F35-7950-FDD31334F4DA}"/>
                  </a:ext>
                </a:extLst>
              </p:cNvPr>
              <p:cNvSpPr/>
              <p:nvPr/>
            </p:nvSpPr>
            <p:spPr>
              <a:xfrm>
                <a:off x="5682366" y="2271502"/>
                <a:ext cx="720000" cy="720000"/>
              </a:xfrm>
              <a:prstGeom prst="ellipse">
                <a:avLst/>
              </a:prstGeom>
              <a:solidFill>
                <a:schemeClr val="bg1"/>
              </a:solidFill>
              <a:ln w="38100"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it-IT" sz="1050"/>
              </a:p>
            </p:txBody>
          </p:sp>
          <p:pic>
            <p:nvPicPr>
              <p:cNvPr id="1080" name="Picture 12">
                <a:extLst>
                  <a:ext uri="{FF2B5EF4-FFF2-40B4-BE49-F238E27FC236}">
                    <a16:creationId xmlns:a16="http://schemas.microsoft.com/office/drawing/2014/main" id="{A02068C7-8DE3-B6A6-C940-CD902EEA5B97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10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5700366" y="2289502"/>
                <a:ext cx="684000" cy="684000"/>
              </a:xfrm>
              <a:prstGeom prst="flowChartConnector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grpSp>
          <p:nvGrpSpPr>
            <p:cNvPr id="1081" name="Group 1080">
              <a:extLst>
                <a:ext uri="{FF2B5EF4-FFF2-40B4-BE49-F238E27FC236}">
                  <a16:creationId xmlns:a16="http://schemas.microsoft.com/office/drawing/2014/main" id="{7773BDAA-48C1-0369-0D35-7DCAAB07BEDA}"/>
                </a:ext>
              </a:extLst>
            </p:cNvPr>
            <p:cNvGrpSpPr/>
            <p:nvPr/>
          </p:nvGrpSpPr>
          <p:grpSpPr>
            <a:xfrm>
              <a:off x="7486806" y="3864718"/>
              <a:ext cx="449645" cy="463269"/>
              <a:chOff x="5066929" y="3562941"/>
              <a:chExt cx="720000" cy="720000"/>
            </a:xfrm>
          </p:grpSpPr>
          <p:sp>
            <p:nvSpPr>
              <p:cNvPr id="1082" name="Oval 1081">
                <a:extLst>
                  <a:ext uri="{FF2B5EF4-FFF2-40B4-BE49-F238E27FC236}">
                    <a16:creationId xmlns:a16="http://schemas.microsoft.com/office/drawing/2014/main" id="{570156B9-8559-D9FB-6CEF-E446478EE4A3}"/>
                  </a:ext>
                </a:extLst>
              </p:cNvPr>
              <p:cNvSpPr/>
              <p:nvPr/>
            </p:nvSpPr>
            <p:spPr>
              <a:xfrm>
                <a:off x="5066929" y="3562941"/>
                <a:ext cx="720000" cy="720000"/>
              </a:xfrm>
              <a:prstGeom prst="ellipse">
                <a:avLst/>
              </a:prstGeom>
              <a:solidFill>
                <a:schemeClr val="bg1"/>
              </a:solidFill>
              <a:ln w="38100"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it-IT" sz="1050"/>
              </a:p>
            </p:txBody>
          </p:sp>
          <p:pic>
            <p:nvPicPr>
              <p:cNvPr id="1083" name="Picture 14" descr="Politecnico di Bari - Wikipedia">
                <a:extLst>
                  <a:ext uri="{FF2B5EF4-FFF2-40B4-BE49-F238E27FC236}">
                    <a16:creationId xmlns:a16="http://schemas.microsoft.com/office/drawing/2014/main" id="{FE61F1D6-2E90-565F-2D4E-91A325D274BF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11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5084929" y="3580941"/>
                <a:ext cx="684000" cy="684000"/>
              </a:xfrm>
              <a:prstGeom prst="flowChartConnector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sp>
          <p:nvSpPr>
            <p:cNvPr id="1090" name="文本框 340">
              <a:extLst>
                <a:ext uri="{FF2B5EF4-FFF2-40B4-BE49-F238E27FC236}">
                  <a16:creationId xmlns:a16="http://schemas.microsoft.com/office/drawing/2014/main" id="{3818BDCD-D173-C919-9B6A-0AB5C48FBB6C}"/>
                </a:ext>
              </a:extLst>
            </p:cNvPr>
            <p:cNvSpPr txBox="1"/>
            <p:nvPr/>
          </p:nvSpPr>
          <p:spPr>
            <a:xfrm>
              <a:off x="5427946" y="2305175"/>
              <a:ext cx="757067" cy="25181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Pct val="100000"/>
                <a:buFontTx/>
                <a:buNone/>
                <a:tabLst/>
                <a:defRPr/>
              </a:pPr>
              <a:r>
                <a:rPr kumimoji="0" lang="en-US" altLang="zh-CN" sz="900" b="1" i="0" u="none" strike="noStrike" kern="1200" cap="none" spc="0" normalizeH="0" baseline="0" noProof="0" err="1">
                  <a:ln>
                    <a:noFill/>
                  </a:ln>
                  <a:effectLst/>
                  <a:uLnTx/>
                  <a:uFillTx/>
                  <a:ea typeface="+mn-ea"/>
                  <a:cs typeface="+mn-cs"/>
                </a:rPr>
                <a:t>Università</a:t>
              </a:r>
              <a:r>
                <a:rPr kumimoji="0" lang="en-US" altLang="zh-CN" sz="900" b="1" i="0" u="none" strike="noStrike" kern="1200" cap="none" spc="0" normalizeH="0" baseline="0" noProof="0">
                  <a:ln>
                    <a:noFill/>
                  </a:ln>
                  <a:effectLst/>
                  <a:uLnTx/>
                  <a:uFillTx/>
                  <a:ea typeface="+mn-ea"/>
                  <a:cs typeface="+mn-cs"/>
                </a:rPr>
                <a:t> </a:t>
              </a:r>
              <a:br>
                <a:rPr kumimoji="0" lang="en-US" altLang="zh-CN" sz="900" b="1" i="0" u="none" strike="noStrike" kern="1200" cap="none" spc="0" normalizeH="0" baseline="0" noProof="0">
                  <a:ln>
                    <a:noFill/>
                  </a:ln>
                  <a:effectLst/>
                  <a:uLnTx/>
                  <a:uFillTx/>
                  <a:ea typeface="+mn-ea"/>
                  <a:cs typeface="+mn-cs"/>
                </a:rPr>
              </a:br>
              <a:r>
                <a:rPr kumimoji="0" lang="en-US" altLang="zh-CN" sz="900" b="1" i="0" u="none" strike="noStrike" kern="1200" cap="none" spc="0" normalizeH="0" baseline="0" noProof="0">
                  <a:ln>
                    <a:noFill/>
                  </a:ln>
                  <a:effectLst/>
                  <a:uLnTx/>
                  <a:uFillTx/>
                  <a:ea typeface="+mn-ea"/>
                  <a:cs typeface="+mn-cs"/>
                </a:rPr>
                <a:t>di Bologna</a:t>
              </a:r>
            </a:p>
          </p:txBody>
        </p:sp>
        <p:sp>
          <p:nvSpPr>
            <p:cNvPr id="1091" name="文本框 340">
              <a:extLst>
                <a:ext uri="{FF2B5EF4-FFF2-40B4-BE49-F238E27FC236}">
                  <a16:creationId xmlns:a16="http://schemas.microsoft.com/office/drawing/2014/main" id="{9E5FA582-8F02-2706-529A-0354F9F2CD32}"/>
                </a:ext>
              </a:extLst>
            </p:cNvPr>
            <p:cNvSpPr txBox="1"/>
            <p:nvPr/>
          </p:nvSpPr>
          <p:spPr>
            <a:xfrm>
              <a:off x="5199038" y="3159000"/>
              <a:ext cx="757067" cy="25181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Pct val="100000"/>
                <a:buFontTx/>
                <a:buNone/>
                <a:tabLst/>
                <a:defRPr/>
              </a:pPr>
              <a:r>
                <a:rPr kumimoji="0" lang="en-US" altLang="zh-CN" sz="900" b="1" i="0" u="none" strike="noStrike" kern="1200" cap="none" spc="0" normalizeH="0" baseline="0" noProof="0" err="1">
                  <a:ln>
                    <a:noFill/>
                  </a:ln>
                  <a:effectLst/>
                  <a:uLnTx/>
                  <a:uFillTx/>
                  <a:ea typeface="+mn-ea"/>
                  <a:cs typeface="+mn-cs"/>
                </a:rPr>
                <a:t>Politecnico</a:t>
              </a:r>
              <a:r>
                <a:rPr kumimoji="0" lang="en-US" altLang="zh-CN" sz="900" b="1" i="0" u="none" strike="noStrike" kern="1200" cap="none" spc="0" normalizeH="0" baseline="0" noProof="0">
                  <a:ln>
                    <a:noFill/>
                  </a:ln>
                  <a:effectLst/>
                  <a:uLnTx/>
                  <a:uFillTx/>
                  <a:ea typeface="+mn-ea"/>
                  <a:cs typeface="+mn-cs"/>
                </a:rPr>
                <a:t> </a:t>
              </a:r>
              <a:br>
                <a:rPr kumimoji="0" lang="en-US" altLang="zh-CN" sz="900" b="1" i="0" u="none" strike="noStrike" kern="1200" cap="none" spc="0" normalizeH="0" baseline="0" noProof="0">
                  <a:ln>
                    <a:noFill/>
                  </a:ln>
                  <a:effectLst/>
                  <a:uLnTx/>
                  <a:uFillTx/>
                  <a:ea typeface="+mn-ea"/>
                  <a:cs typeface="+mn-cs"/>
                </a:rPr>
              </a:br>
              <a:r>
                <a:rPr kumimoji="0" lang="en-US" altLang="zh-CN" sz="900" b="1" i="0" u="none" strike="noStrike" kern="1200" cap="none" spc="0" normalizeH="0" baseline="0" noProof="0">
                  <a:ln>
                    <a:noFill/>
                  </a:ln>
                  <a:effectLst/>
                  <a:uLnTx/>
                  <a:uFillTx/>
                  <a:ea typeface="+mn-ea"/>
                  <a:cs typeface="+mn-cs"/>
                </a:rPr>
                <a:t>di Milano</a:t>
              </a:r>
            </a:p>
          </p:txBody>
        </p:sp>
        <p:sp>
          <p:nvSpPr>
            <p:cNvPr id="1092" name="文本框 340">
              <a:extLst>
                <a:ext uri="{FF2B5EF4-FFF2-40B4-BE49-F238E27FC236}">
                  <a16:creationId xmlns:a16="http://schemas.microsoft.com/office/drawing/2014/main" id="{02A4FE78-0B21-598F-9844-FADE7F0B5299}"/>
                </a:ext>
              </a:extLst>
            </p:cNvPr>
            <p:cNvSpPr txBox="1"/>
            <p:nvPr/>
          </p:nvSpPr>
          <p:spPr>
            <a:xfrm>
              <a:off x="5611743" y="3985423"/>
              <a:ext cx="757067" cy="25181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Pct val="100000"/>
                <a:buFontTx/>
                <a:buNone/>
                <a:tabLst/>
                <a:defRPr/>
              </a:pPr>
              <a:r>
                <a:rPr kumimoji="0" lang="en-US" altLang="zh-CN" sz="900" b="1" i="0" u="none" strike="noStrike" kern="1200" cap="none" spc="0" normalizeH="0" baseline="0" noProof="0">
                  <a:ln>
                    <a:noFill/>
                  </a:ln>
                  <a:effectLst/>
                  <a:uLnTx/>
                  <a:uFillTx/>
                  <a:ea typeface="+mn-ea"/>
                  <a:cs typeface="+mn-cs"/>
                </a:rPr>
                <a:t>Federico II </a:t>
              </a:r>
              <a:br>
                <a:rPr kumimoji="0" lang="en-US" altLang="zh-CN" sz="900" b="1" i="0" u="none" strike="noStrike" kern="1200" cap="none" spc="0" normalizeH="0" baseline="0" noProof="0">
                  <a:ln>
                    <a:noFill/>
                  </a:ln>
                  <a:effectLst/>
                  <a:uLnTx/>
                  <a:uFillTx/>
                  <a:ea typeface="+mn-ea"/>
                  <a:cs typeface="+mn-cs"/>
                </a:rPr>
              </a:br>
              <a:r>
                <a:rPr kumimoji="0" lang="en-US" altLang="zh-CN" sz="900" b="1" i="0" u="none" strike="noStrike" kern="1200" cap="none" spc="0" normalizeH="0" baseline="0" noProof="0">
                  <a:ln>
                    <a:noFill/>
                  </a:ln>
                  <a:effectLst/>
                  <a:uLnTx/>
                  <a:uFillTx/>
                  <a:ea typeface="+mn-ea"/>
                  <a:cs typeface="+mn-cs"/>
                </a:rPr>
                <a:t>di Napoli</a:t>
              </a:r>
            </a:p>
          </p:txBody>
        </p:sp>
        <p:sp>
          <p:nvSpPr>
            <p:cNvPr id="1093" name="文本框 340">
              <a:extLst>
                <a:ext uri="{FF2B5EF4-FFF2-40B4-BE49-F238E27FC236}">
                  <a16:creationId xmlns:a16="http://schemas.microsoft.com/office/drawing/2014/main" id="{F4CD1347-7D2C-1C62-AC0B-7820E86D1F8C}"/>
                </a:ext>
              </a:extLst>
            </p:cNvPr>
            <p:cNvSpPr txBox="1"/>
            <p:nvPr/>
          </p:nvSpPr>
          <p:spPr>
            <a:xfrm>
              <a:off x="7855291" y="2322746"/>
              <a:ext cx="757067" cy="25181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Pct val="100000"/>
                <a:buFontTx/>
                <a:buNone/>
                <a:tabLst/>
                <a:defRPr/>
              </a:pPr>
              <a:r>
                <a:rPr kumimoji="0" lang="en-US" altLang="zh-CN" sz="900" b="1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ea typeface="+mn-ea"/>
                  <a:cs typeface="+mn-cs"/>
                </a:rPr>
                <a:t>Boston’s</a:t>
              </a:r>
              <a:br>
                <a:rPr kumimoji="0" lang="en-US" altLang="zh-CN" sz="900" b="1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ea typeface="+mn-ea"/>
                  <a:cs typeface="+mn-cs"/>
                </a:rPr>
              </a:br>
              <a:r>
                <a:rPr kumimoji="0" lang="en-US" altLang="zh-CN" sz="900" b="1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ea typeface="+mn-ea"/>
                  <a:cs typeface="+mn-cs"/>
                </a:rPr>
                <a:t>MIT</a:t>
              </a:r>
            </a:p>
          </p:txBody>
        </p:sp>
        <p:sp>
          <p:nvSpPr>
            <p:cNvPr id="1094" name="文本框 340">
              <a:extLst>
                <a:ext uri="{FF2B5EF4-FFF2-40B4-BE49-F238E27FC236}">
                  <a16:creationId xmlns:a16="http://schemas.microsoft.com/office/drawing/2014/main" id="{4381D49F-840F-30B7-CAEA-325FB38CCDCC}"/>
                </a:ext>
              </a:extLst>
            </p:cNvPr>
            <p:cNvSpPr txBox="1"/>
            <p:nvPr/>
          </p:nvSpPr>
          <p:spPr>
            <a:xfrm>
              <a:off x="8270461" y="3108518"/>
              <a:ext cx="757067" cy="25181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Pct val="100000"/>
                <a:buFontTx/>
                <a:buNone/>
                <a:tabLst/>
                <a:defRPr/>
              </a:pPr>
              <a:r>
                <a:rPr kumimoji="0" lang="en-US" altLang="zh-CN" sz="900" b="1" i="0" u="none" strike="noStrike" kern="1200" cap="none" spc="0" normalizeH="0" baseline="0" noProof="0" err="1">
                  <a:ln>
                    <a:noFill/>
                  </a:ln>
                  <a:effectLst/>
                  <a:uLnTx/>
                  <a:uFillTx/>
                  <a:ea typeface="+mn-ea"/>
                  <a:cs typeface="+mn-cs"/>
                </a:rPr>
                <a:t>Politecnico</a:t>
              </a:r>
              <a:r>
                <a:rPr kumimoji="0" lang="en-US" altLang="zh-CN" sz="900" b="1" i="0" u="none" strike="noStrike" kern="1200" cap="none" spc="0" normalizeH="0" baseline="0" noProof="0">
                  <a:ln>
                    <a:noFill/>
                  </a:ln>
                  <a:effectLst/>
                  <a:uLnTx/>
                  <a:uFillTx/>
                  <a:ea typeface="+mn-ea"/>
                  <a:cs typeface="+mn-cs"/>
                </a:rPr>
                <a:t> </a:t>
              </a:r>
              <a:br>
                <a:rPr kumimoji="0" lang="en-US" altLang="zh-CN" sz="900" b="1" i="0" u="none" strike="noStrike" kern="1200" cap="none" spc="0" normalizeH="0" baseline="0" noProof="0">
                  <a:ln>
                    <a:noFill/>
                  </a:ln>
                  <a:effectLst/>
                  <a:uLnTx/>
                  <a:uFillTx/>
                  <a:ea typeface="+mn-ea"/>
                  <a:cs typeface="+mn-cs"/>
                </a:rPr>
              </a:br>
              <a:r>
                <a:rPr kumimoji="0" lang="en-US" altLang="zh-CN" sz="900" b="1" i="0" u="none" strike="noStrike" kern="1200" cap="none" spc="0" normalizeH="0" baseline="0" noProof="0">
                  <a:ln>
                    <a:noFill/>
                  </a:ln>
                  <a:effectLst/>
                  <a:uLnTx/>
                  <a:uFillTx/>
                  <a:ea typeface="+mn-ea"/>
                  <a:cs typeface="+mn-cs"/>
                </a:rPr>
                <a:t>di Torino</a:t>
              </a:r>
            </a:p>
          </p:txBody>
        </p:sp>
        <p:sp>
          <p:nvSpPr>
            <p:cNvPr id="1095" name="文本框 340">
              <a:extLst>
                <a:ext uri="{FF2B5EF4-FFF2-40B4-BE49-F238E27FC236}">
                  <a16:creationId xmlns:a16="http://schemas.microsoft.com/office/drawing/2014/main" id="{D54E841D-8447-F3A7-16A2-FD5D1387E7DA}"/>
                </a:ext>
              </a:extLst>
            </p:cNvPr>
            <p:cNvSpPr txBox="1"/>
            <p:nvPr/>
          </p:nvSpPr>
          <p:spPr>
            <a:xfrm>
              <a:off x="7872925" y="3981439"/>
              <a:ext cx="757067" cy="25181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Pct val="100000"/>
                <a:buFontTx/>
                <a:buNone/>
                <a:tabLst/>
                <a:defRPr/>
              </a:pPr>
              <a:r>
                <a:rPr kumimoji="0" lang="en-US" altLang="zh-CN" sz="900" b="1" i="0" u="none" strike="noStrike" kern="1200" cap="none" spc="0" normalizeH="0" baseline="0" noProof="0" err="1">
                  <a:ln>
                    <a:noFill/>
                  </a:ln>
                  <a:effectLst/>
                  <a:uLnTx/>
                  <a:uFillTx/>
                  <a:ea typeface="+mn-ea"/>
                  <a:cs typeface="+mn-cs"/>
                </a:rPr>
                <a:t>Politecnico</a:t>
              </a:r>
              <a:r>
                <a:rPr kumimoji="0" lang="en-US" altLang="zh-CN" sz="900" b="1" i="0" u="none" strike="noStrike" kern="1200" cap="none" spc="0" normalizeH="0" baseline="0" noProof="0">
                  <a:ln>
                    <a:noFill/>
                  </a:ln>
                  <a:effectLst/>
                  <a:uLnTx/>
                  <a:uFillTx/>
                  <a:ea typeface="+mn-ea"/>
                  <a:cs typeface="+mn-cs"/>
                </a:rPr>
                <a:t> </a:t>
              </a:r>
              <a:br>
                <a:rPr kumimoji="0" lang="en-US" altLang="zh-CN" sz="900" b="1" i="0" u="none" strike="noStrike" kern="1200" cap="none" spc="0" normalizeH="0" baseline="0" noProof="0">
                  <a:ln>
                    <a:noFill/>
                  </a:ln>
                  <a:effectLst/>
                  <a:uLnTx/>
                  <a:uFillTx/>
                  <a:ea typeface="+mn-ea"/>
                  <a:cs typeface="+mn-cs"/>
                </a:rPr>
              </a:br>
              <a:r>
                <a:rPr kumimoji="0" lang="en-US" altLang="zh-CN" sz="900" b="1" i="0" u="none" strike="noStrike" kern="1200" cap="none" spc="0" normalizeH="0" baseline="0" noProof="0">
                  <a:ln>
                    <a:noFill/>
                  </a:ln>
                  <a:effectLst/>
                  <a:uLnTx/>
                  <a:uFillTx/>
                  <a:ea typeface="+mn-ea"/>
                  <a:cs typeface="+mn-cs"/>
                </a:rPr>
                <a:t>di Bari</a:t>
              </a:r>
            </a:p>
          </p:txBody>
        </p:sp>
        <p:pic>
          <p:nvPicPr>
            <p:cNvPr id="1097" name="Graphic 1096">
              <a:extLst>
                <a:ext uri="{FF2B5EF4-FFF2-40B4-BE49-F238E27FC236}">
                  <a16:creationId xmlns:a16="http://schemas.microsoft.com/office/drawing/2014/main" id="{4F082494-F710-B787-EBA2-C7F9B2DEFA28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>
              <a:off x="6313314" y="3876300"/>
              <a:ext cx="427163" cy="440106"/>
            </a:xfrm>
            <a:prstGeom prst="rect">
              <a:avLst/>
            </a:prstGeom>
          </p:spPr>
        </p:pic>
      </p:grpSp>
      <p:pic>
        <p:nvPicPr>
          <p:cNvPr id="61" name="Picture 60" descr="The Urban Mobility Council, i dati di un nuovo paradigma per la  sostenibilità sociale">
            <a:extLst>
              <a:ext uri="{FF2B5EF4-FFF2-40B4-BE49-F238E27FC236}">
                <a16:creationId xmlns:a16="http://schemas.microsoft.com/office/drawing/2014/main" id="{4C722CE5-4DF9-ED13-A002-D7F4620CB92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309006" y="1992655"/>
            <a:ext cx="2021362" cy="362953"/>
          </a:xfrm>
          <a:prstGeom prst="rect">
            <a:avLst/>
          </a:prstGeom>
          <a:noFill/>
          <a:ln>
            <a:solidFill>
              <a:schemeClr val="accent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05" name="Rectangle 1104">
            <a:extLst>
              <a:ext uri="{FF2B5EF4-FFF2-40B4-BE49-F238E27FC236}">
                <a16:creationId xmlns:a16="http://schemas.microsoft.com/office/drawing/2014/main" id="{B52D2A33-9737-9D64-83E4-4AB5866C8677}"/>
              </a:ext>
            </a:extLst>
          </p:cNvPr>
          <p:cNvSpPr/>
          <p:nvPr/>
        </p:nvSpPr>
        <p:spPr>
          <a:xfrm>
            <a:off x="198020" y="3561376"/>
            <a:ext cx="4243336" cy="4755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u="sng" dirty="0">
                <a:solidFill>
                  <a:schemeClr val="tx1"/>
                </a:solidFill>
              </a:rPr>
              <a:t>The </a:t>
            </a:r>
            <a:r>
              <a:rPr lang="en-US" sz="1400" b="1" u="sng" dirty="0">
                <a:solidFill>
                  <a:schemeClr val="tx1"/>
                </a:solidFill>
              </a:rPr>
              <a:t>themes of the year </a:t>
            </a:r>
            <a:r>
              <a:rPr lang="en-US" sz="1400" u="sng" dirty="0">
                <a:solidFill>
                  <a:schemeClr val="tx1"/>
                </a:solidFill>
              </a:rPr>
              <a:t>are:</a:t>
            </a:r>
            <a:endParaRPr lang="it-IT" sz="1400" b="1" dirty="0">
              <a:solidFill>
                <a:schemeClr val="tx1"/>
              </a:solidFill>
            </a:endParaRPr>
          </a:p>
        </p:txBody>
      </p:sp>
      <p:sp>
        <p:nvSpPr>
          <p:cNvPr id="1113" name="Rectangle 1112">
            <a:hlinkClick r:id="" action="ppaction://noaction"/>
            <a:extLst>
              <a:ext uri="{FF2B5EF4-FFF2-40B4-BE49-F238E27FC236}">
                <a16:creationId xmlns:a16="http://schemas.microsoft.com/office/drawing/2014/main" id="{06AE2439-E7A2-8071-D2D7-5056991AD35A}"/>
              </a:ext>
            </a:extLst>
          </p:cNvPr>
          <p:cNvSpPr/>
          <p:nvPr/>
        </p:nvSpPr>
        <p:spPr bwMode="gray">
          <a:xfrm>
            <a:off x="7322358" y="71806"/>
            <a:ext cx="1361459" cy="327004"/>
          </a:xfrm>
          <a:prstGeom prst="rect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</p:spPr>
        <p:txBody>
          <a:bodyPr wrap="square" lIns="324000" tIns="66675" rIns="36000" bIns="66675" rtlCol="0" anchor="ctr"/>
          <a:lstStyle/>
          <a:p>
            <a:pPr defTabSz="914400">
              <a:lnSpc>
                <a:spcPct val="106000"/>
              </a:lnSpc>
              <a:defRPr/>
            </a:pPr>
            <a:r>
              <a:rPr kumimoji="0" lang="it-IT" sz="900" b="0" i="1" u="none" strike="noStrike" kern="1200" cap="none" spc="0" normalizeH="0" baseline="0" noProof="0" dirty="0">
                <a:ln>
                  <a:noFill/>
                </a:ln>
                <a:solidFill>
                  <a:srgbClr val="0F325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Focus </a:t>
            </a:r>
            <a:r>
              <a:rPr kumimoji="0" lang="it-IT" sz="900" b="0" i="1" u="none" strike="noStrike" kern="1200" cap="none" spc="0" normalizeH="0" baseline="0" noProof="0" dirty="0" err="1">
                <a:ln>
                  <a:noFill/>
                </a:ln>
                <a:solidFill>
                  <a:srgbClr val="0F325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next</a:t>
            </a:r>
            <a:r>
              <a:rPr kumimoji="0" lang="it-IT" sz="900" b="0" i="1" u="none" strike="noStrike" kern="1200" cap="none" spc="0" normalizeH="0" baseline="0" noProof="0" dirty="0">
                <a:ln>
                  <a:noFill/>
                </a:ln>
                <a:solidFill>
                  <a:srgbClr val="0F325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slides</a:t>
            </a:r>
          </a:p>
        </p:txBody>
      </p:sp>
      <p:grpSp>
        <p:nvGrpSpPr>
          <p:cNvPr id="1130" name="Group 1129">
            <a:extLst>
              <a:ext uri="{FF2B5EF4-FFF2-40B4-BE49-F238E27FC236}">
                <a16:creationId xmlns:a16="http://schemas.microsoft.com/office/drawing/2014/main" id="{3E55F8F7-BC8C-47CF-9179-3017F5E3EF4F}"/>
              </a:ext>
            </a:extLst>
          </p:cNvPr>
          <p:cNvGrpSpPr/>
          <p:nvPr/>
        </p:nvGrpSpPr>
        <p:grpSpPr>
          <a:xfrm>
            <a:off x="878865" y="4021384"/>
            <a:ext cx="1082612" cy="334453"/>
            <a:chOff x="878865" y="4027694"/>
            <a:chExt cx="1082612" cy="334453"/>
          </a:xfrm>
        </p:grpSpPr>
        <p:sp>
          <p:nvSpPr>
            <p:cNvPr id="1126" name="Oval 1125">
              <a:extLst>
                <a:ext uri="{FF2B5EF4-FFF2-40B4-BE49-F238E27FC236}">
                  <a16:creationId xmlns:a16="http://schemas.microsoft.com/office/drawing/2014/main" id="{A8D874B1-C4F4-C4EF-F337-A599E774FEFA}"/>
                </a:ext>
              </a:extLst>
            </p:cNvPr>
            <p:cNvSpPr/>
            <p:nvPr/>
          </p:nvSpPr>
          <p:spPr>
            <a:xfrm>
              <a:off x="878865" y="4027694"/>
              <a:ext cx="1047302" cy="334453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/>
            </a:p>
          </p:txBody>
        </p:sp>
        <p:sp>
          <p:nvSpPr>
            <p:cNvPr id="1124" name="Freeform 186">
              <a:extLst>
                <a:ext uri="{FF2B5EF4-FFF2-40B4-BE49-F238E27FC236}">
                  <a16:creationId xmlns:a16="http://schemas.microsoft.com/office/drawing/2014/main" id="{810BB71D-4962-7727-A3E9-468B88D67456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878865" y="4027694"/>
              <a:ext cx="1082612" cy="334453"/>
            </a:xfrm>
            <a:custGeom>
              <a:avLst/>
              <a:gdLst>
                <a:gd name="T0" fmla="*/ 418 w 744"/>
                <a:gd name="T1" fmla="*/ 210 h 230"/>
                <a:gd name="T2" fmla="*/ 572 w 744"/>
                <a:gd name="T3" fmla="*/ 200 h 230"/>
                <a:gd name="T4" fmla="*/ 678 w 744"/>
                <a:gd name="T5" fmla="*/ 178 h 230"/>
                <a:gd name="T6" fmla="*/ 711 w 744"/>
                <a:gd name="T7" fmla="*/ 161 h 230"/>
                <a:gd name="T8" fmla="*/ 716 w 744"/>
                <a:gd name="T9" fmla="*/ 135 h 230"/>
                <a:gd name="T10" fmla="*/ 713 w 744"/>
                <a:gd name="T11" fmla="*/ 130 h 230"/>
                <a:gd name="T12" fmla="*/ 715 w 744"/>
                <a:gd name="T13" fmla="*/ 111 h 230"/>
                <a:gd name="T14" fmla="*/ 732 w 744"/>
                <a:gd name="T15" fmla="*/ 115 h 230"/>
                <a:gd name="T16" fmla="*/ 739 w 744"/>
                <a:gd name="T17" fmla="*/ 153 h 230"/>
                <a:gd name="T18" fmla="*/ 713 w 744"/>
                <a:gd name="T19" fmla="*/ 181 h 230"/>
                <a:gd name="T20" fmla="*/ 654 w 744"/>
                <a:gd name="T21" fmla="*/ 205 h 230"/>
                <a:gd name="T22" fmla="*/ 516 w 744"/>
                <a:gd name="T23" fmla="*/ 225 h 230"/>
                <a:gd name="T24" fmla="*/ 357 w 744"/>
                <a:gd name="T25" fmla="*/ 229 h 230"/>
                <a:gd name="T26" fmla="*/ 92 w 744"/>
                <a:gd name="T27" fmla="*/ 200 h 230"/>
                <a:gd name="T28" fmla="*/ 47 w 744"/>
                <a:gd name="T29" fmla="*/ 185 h 230"/>
                <a:gd name="T30" fmla="*/ 17 w 744"/>
                <a:gd name="T31" fmla="*/ 163 h 230"/>
                <a:gd name="T32" fmla="*/ 5 w 744"/>
                <a:gd name="T33" fmla="*/ 111 h 230"/>
                <a:gd name="T34" fmla="*/ 50 w 744"/>
                <a:gd name="T35" fmla="*/ 56 h 230"/>
                <a:gd name="T36" fmla="*/ 142 w 744"/>
                <a:gd name="T37" fmla="*/ 25 h 230"/>
                <a:gd name="T38" fmla="*/ 414 w 744"/>
                <a:gd name="T39" fmla="*/ 3 h 230"/>
                <a:gd name="T40" fmla="*/ 593 w 744"/>
                <a:gd name="T41" fmla="*/ 29 h 230"/>
                <a:gd name="T42" fmla="*/ 671 w 744"/>
                <a:gd name="T43" fmla="*/ 58 h 230"/>
                <a:gd name="T44" fmla="*/ 697 w 744"/>
                <a:gd name="T45" fmla="*/ 79 h 230"/>
                <a:gd name="T46" fmla="*/ 701 w 744"/>
                <a:gd name="T47" fmla="*/ 93 h 230"/>
                <a:gd name="T48" fmla="*/ 693 w 744"/>
                <a:gd name="T49" fmla="*/ 102 h 230"/>
                <a:gd name="T50" fmla="*/ 684 w 744"/>
                <a:gd name="T51" fmla="*/ 97 h 230"/>
                <a:gd name="T52" fmla="*/ 654 w 744"/>
                <a:gd name="T53" fmla="*/ 72 h 230"/>
                <a:gd name="T54" fmla="*/ 505 w 744"/>
                <a:gd name="T55" fmla="*/ 31 h 230"/>
                <a:gd name="T56" fmla="*/ 296 w 744"/>
                <a:gd name="T57" fmla="*/ 22 h 230"/>
                <a:gd name="T58" fmla="*/ 76 w 744"/>
                <a:gd name="T59" fmla="*/ 64 h 230"/>
                <a:gd name="T60" fmla="*/ 45 w 744"/>
                <a:gd name="T61" fmla="*/ 78 h 230"/>
                <a:gd name="T62" fmla="*/ 21 w 744"/>
                <a:gd name="T63" fmla="*/ 107 h 230"/>
                <a:gd name="T64" fmla="*/ 29 w 744"/>
                <a:gd name="T65" fmla="*/ 146 h 230"/>
                <a:gd name="T66" fmla="*/ 67 w 744"/>
                <a:gd name="T67" fmla="*/ 170 h 230"/>
                <a:gd name="T68" fmla="*/ 141 w 744"/>
                <a:gd name="T69" fmla="*/ 188 h 230"/>
                <a:gd name="T70" fmla="*/ 418 w 744"/>
                <a:gd name="T71" fmla="*/ 210 h 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744" h="230">
                  <a:moveTo>
                    <a:pt x="418" y="210"/>
                  </a:moveTo>
                  <a:cubicBezTo>
                    <a:pt x="469" y="207"/>
                    <a:pt x="520" y="204"/>
                    <a:pt x="572" y="200"/>
                  </a:cubicBezTo>
                  <a:cubicBezTo>
                    <a:pt x="608" y="197"/>
                    <a:pt x="643" y="190"/>
                    <a:pt x="678" y="178"/>
                  </a:cubicBezTo>
                  <a:cubicBezTo>
                    <a:pt x="689" y="174"/>
                    <a:pt x="701" y="168"/>
                    <a:pt x="711" y="161"/>
                  </a:cubicBezTo>
                  <a:cubicBezTo>
                    <a:pt x="722" y="153"/>
                    <a:pt x="723" y="147"/>
                    <a:pt x="716" y="135"/>
                  </a:cubicBezTo>
                  <a:cubicBezTo>
                    <a:pt x="715" y="133"/>
                    <a:pt x="713" y="131"/>
                    <a:pt x="713" y="130"/>
                  </a:cubicBezTo>
                  <a:cubicBezTo>
                    <a:pt x="708" y="122"/>
                    <a:pt x="709" y="115"/>
                    <a:pt x="715" y="111"/>
                  </a:cubicBezTo>
                  <a:cubicBezTo>
                    <a:pt x="721" y="106"/>
                    <a:pt x="727" y="111"/>
                    <a:pt x="732" y="115"/>
                  </a:cubicBezTo>
                  <a:cubicBezTo>
                    <a:pt x="741" y="123"/>
                    <a:pt x="744" y="141"/>
                    <a:pt x="739" y="153"/>
                  </a:cubicBezTo>
                  <a:cubicBezTo>
                    <a:pt x="733" y="165"/>
                    <a:pt x="724" y="174"/>
                    <a:pt x="713" y="181"/>
                  </a:cubicBezTo>
                  <a:cubicBezTo>
                    <a:pt x="695" y="194"/>
                    <a:pt x="675" y="200"/>
                    <a:pt x="654" y="205"/>
                  </a:cubicBezTo>
                  <a:cubicBezTo>
                    <a:pt x="609" y="216"/>
                    <a:pt x="563" y="223"/>
                    <a:pt x="516" y="225"/>
                  </a:cubicBezTo>
                  <a:cubicBezTo>
                    <a:pt x="463" y="227"/>
                    <a:pt x="410" y="229"/>
                    <a:pt x="357" y="229"/>
                  </a:cubicBezTo>
                  <a:cubicBezTo>
                    <a:pt x="267" y="230"/>
                    <a:pt x="179" y="221"/>
                    <a:pt x="92" y="200"/>
                  </a:cubicBezTo>
                  <a:cubicBezTo>
                    <a:pt x="77" y="197"/>
                    <a:pt x="62" y="192"/>
                    <a:pt x="47" y="185"/>
                  </a:cubicBezTo>
                  <a:cubicBezTo>
                    <a:pt x="36" y="180"/>
                    <a:pt x="26" y="172"/>
                    <a:pt x="17" y="163"/>
                  </a:cubicBezTo>
                  <a:cubicBezTo>
                    <a:pt x="4" y="148"/>
                    <a:pt x="0" y="130"/>
                    <a:pt x="5" y="111"/>
                  </a:cubicBezTo>
                  <a:cubicBezTo>
                    <a:pt x="11" y="85"/>
                    <a:pt x="26" y="67"/>
                    <a:pt x="50" y="56"/>
                  </a:cubicBezTo>
                  <a:cubicBezTo>
                    <a:pt x="80" y="42"/>
                    <a:pt x="111" y="33"/>
                    <a:pt x="142" y="25"/>
                  </a:cubicBezTo>
                  <a:cubicBezTo>
                    <a:pt x="232" y="3"/>
                    <a:pt x="323" y="0"/>
                    <a:pt x="414" y="3"/>
                  </a:cubicBezTo>
                  <a:cubicBezTo>
                    <a:pt x="475" y="5"/>
                    <a:pt x="535" y="13"/>
                    <a:pt x="593" y="29"/>
                  </a:cubicBezTo>
                  <a:cubicBezTo>
                    <a:pt x="620" y="37"/>
                    <a:pt x="645" y="47"/>
                    <a:pt x="671" y="58"/>
                  </a:cubicBezTo>
                  <a:cubicBezTo>
                    <a:pt x="682" y="62"/>
                    <a:pt x="692" y="69"/>
                    <a:pt x="697" y="79"/>
                  </a:cubicBezTo>
                  <a:cubicBezTo>
                    <a:pt x="700" y="83"/>
                    <a:pt x="702" y="89"/>
                    <a:pt x="701" y="93"/>
                  </a:cubicBezTo>
                  <a:cubicBezTo>
                    <a:pt x="701" y="97"/>
                    <a:pt x="697" y="101"/>
                    <a:pt x="693" y="102"/>
                  </a:cubicBezTo>
                  <a:cubicBezTo>
                    <a:pt x="691" y="103"/>
                    <a:pt x="686" y="100"/>
                    <a:pt x="684" y="97"/>
                  </a:cubicBezTo>
                  <a:cubicBezTo>
                    <a:pt x="678" y="84"/>
                    <a:pt x="667" y="78"/>
                    <a:pt x="654" y="72"/>
                  </a:cubicBezTo>
                  <a:cubicBezTo>
                    <a:pt x="607" y="50"/>
                    <a:pt x="556" y="38"/>
                    <a:pt x="505" y="31"/>
                  </a:cubicBezTo>
                  <a:cubicBezTo>
                    <a:pt x="435" y="21"/>
                    <a:pt x="366" y="18"/>
                    <a:pt x="296" y="22"/>
                  </a:cubicBezTo>
                  <a:cubicBezTo>
                    <a:pt x="221" y="26"/>
                    <a:pt x="147" y="37"/>
                    <a:pt x="76" y="64"/>
                  </a:cubicBezTo>
                  <a:cubicBezTo>
                    <a:pt x="65" y="68"/>
                    <a:pt x="55" y="73"/>
                    <a:pt x="45" y="78"/>
                  </a:cubicBezTo>
                  <a:cubicBezTo>
                    <a:pt x="33" y="84"/>
                    <a:pt x="26" y="94"/>
                    <a:pt x="21" y="107"/>
                  </a:cubicBezTo>
                  <a:cubicBezTo>
                    <a:pt x="16" y="122"/>
                    <a:pt x="19" y="134"/>
                    <a:pt x="29" y="146"/>
                  </a:cubicBezTo>
                  <a:cubicBezTo>
                    <a:pt x="39" y="158"/>
                    <a:pt x="52" y="166"/>
                    <a:pt x="67" y="170"/>
                  </a:cubicBezTo>
                  <a:cubicBezTo>
                    <a:pt x="91" y="177"/>
                    <a:pt x="116" y="183"/>
                    <a:pt x="141" y="188"/>
                  </a:cubicBezTo>
                  <a:cubicBezTo>
                    <a:pt x="232" y="206"/>
                    <a:pt x="325" y="210"/>
                    <a:pt x="418" y="21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sp>
        <p:nvSpPr>
          <p:cNvPr id="1114" name="Freeform 82">
            <a:extLst>
              <a:ext uri="{FF2B5EF4-FFF2-40B4-BE49-F238E27FC236}">
                <a16:creationId xmlns:a16="http://schemas.microsoft.com/office/drawing/2014/main" id="{B5841141-4D2A-A8BA-A486-28250D9DB3E2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7351424" y="105102"/>
            <a:ext cx="249884" cy="252815"/>
          </a:xfrm>
          <a:custGeom>
            <a:avLst/>
            <a:gdLst>
              <a:gd name="T0" fmla="*/ 249 w 798"/>
              <a:gd name="T1" fmla="*/ 121 h 818"/>
              <a:gd name="T2" fmla="*/ 232 w 798"/>
              <a:gd name="T3" fmla="*/ 142 h 818"/>
              <a:gd name="T4" fmla="*/ 235 w 798"/>
              <a:gd name="T5" fmla="*/ 162 h 818"/>
              <a:gd name="T6" fmla="*/ 257 w 798"/>
              <a:gd name="T7" fmla="*/ 176 h 818"/>
              <a:gd name="T8" fmla="*/ 290 w 798"/>
              <a:gd name="T9" fmla="*/ 174 h 818"/>
              <a:gd name="T10" fmla="*/ 367 w 798"/>
              <a:gd name="T11" fmla="*/ 217 h 818"/>
              <a:gd name="T12" fmla="*/ 387 w 798"/>
              <a:gd name="T13" fmla="*/ 280 h 818"/>
              <a:gd name="T14" fmla="*/ 413 w 798"/>
              <a:gd name="T15" fmla="*/ 301 h 818"/>
              <a:gd name="T16" fmla="*/ 426 w 798"/>
              <a:gd name="T17" fmla="*/ 297 h 818"/>
              <a:gd name="T18" fmla="*/ 440 w 798"/>
              <a:gd name="T19" fmla="*/ 277 h 818"/>
              <a:gd name="T20" fmla="*/ 431 w 798"/>
              <a:gd name="T21" fmla="*/ 225 h 818"/>
              <a:gd name="T22" fmla="*/ 390 w 798"/>
              <a:gd name="T23" fmla="*/ 162 h 818"/>
              <a:gd name="T24" fmla="*/ 326 w 798"/>
              <a:gd name="T25" fmla="*/ 125 h 818"/>
              <a:gd name="T26" fmla="*/ 772 w 798"/>
              <a:gd name="T27" fmla="*/ 664 h 818"/>
              <a:gd name="T28" fmla="*/ 685 w 798"/>
              <a:gd name="T29" fmla="*/ 697 h 818"/>
              <a:gd name="T30" fmla="*/ 670 w 798"/>
              <a:gd name="T31" fmla="*/ 681 h 818"/>
              <a:gd name="T32" fmla="*/ 656 w 798"/>
              <a:gd name="T33" fmla="*/ 652 h 818"/>
              <a:gd name="T34" fmla="*/ 636 w 798"/>
              <a:gd name="T35" fmla="*/ 652 h 818"/>
              <a:gd name="T36" fmla="*/ 636 w 798"/>
              <a:gd name="T37" fmla="*/ 632 h 818"/>
              <a:gd name="T38" fmla="*/ 610 w 798"/>
              <a:gd name="T39" fmla="*/ 616 h 818"/>
              <a:gd name="T40" fmla="*/ 592 w 798"/>
              <a:gd name="T41" fmla="*/ 608 h 818"/>
              <a:gd name="T42" fmla="*/ 634 w 798"/>
              <a:gd name="T43" fmla="*/ 526 h 818"/>
              <a:gd name="T44" fmla="*/ 588 w 798"/>
              <a:gd name="T45" fmla="*/ 500 h 818"/>
              <a:gd name="T46" fmla="*/ 493 w 798"/>
              <a:gd name="T47" fmla="*/ 461 h 818"/>
              <a:gd name="T48" fmla="*/ 542 w 798"/>
              <a:gd name="T49" fmla="*/ 379 h 818"/>
              <a:gd name="T50" fmla="*/ 559 w 798"/>
              <a:gd name="T51" fmla="*/ 280 h 818"/>
              <a:gd name="T52" fmla="*/ 525 w 798"/>
              <a:gd name="T53" fmla="*/ 147 h 818"/>
              <a:gd name="T54" fmla="*/ 437 w 798"/>
              <a:gd name="T55" fmla="*/ 48 h 818"/>
              <a:gd name="T56" fmla="*/ 309 w 798"/>
              <a:gd name="T57" fmla="*/ 2 h 818"/>
              <a:gd name="T58" fmla="*/ 196 w 798"/>
              <a:gd name="T59" fmla="*/ 12 h 818"/>
              <a:gd name="T60" fmla="*/ 82 w 798"/>
              <a:gd name="T61" fmla="*/ 82 h 818"/>
              <a:gd name="T62" fmla="*/ 12 w 798"/>
              <a:gd name="T63" fmla="*/ 196 h 818"/>
              <a:gd name="T64" fmla="*/ 0 w 798"/>
              <a:gd name="T65" fmla="*/ 309 h 818"/>
              <a:gd name="T66" fmla="*/ 48 w 798"/>
              <a:gd name="T67" fmla="*/ 437 h 818"/>
              <a:gd name="T68" fmla="*/ 147 w 798"/>
              <a:gd name="T69" fmla="*/ 528 h 818"/>
              <a:gd name="T70" fmla="*/ 280 w 798"/>
              <a:gd name="T71" fmla="*/ 562 h 818"/>
              <a:gd name="T72" fmla="*/ 365 w 798"/>
              <a:gd name="T73" fmla="*/ 548 h 818"/>
              <a:gd name="T74" fmla="*/ 486 w 798"/>
              <a:gd name="T75" fmla="*/ 557 h 818"/>
              <a:gd name="T76" fmla="*/ 483 w 798"/>
              <a:gd name="T77" fmla="*/ 608 h 818"/>
              <a:gd name="T78" fmla="*/ 645 w 798"/>
              <a:gd name="T79" fmla="*/ 792 h 818"/>
              <a:gd name="T80" fmla="*/ 708 w 798"/>
              <a:gd name="T81" fmla="*/ 818 h 818"/>
              <a:gd name="T82" fmla="*/ 772 w 798"/>
              <a:gd name="T83" fmla="*/ 792 h 818"/>
              <a:gd name="T84" fmla="*/ 798 w 798"/>
              <a:gd name="T85" fmla="*/ 727 h 818"/>
              <a:gd name="T86" fmla="*/ 772 w 798"/>
              <a:gd name="T87" fmla="*/ 664 h 818"/>
              <a:gd name="T88" fmla="*/ 379 w 798"/>
              <a:gd name="T89" fmla="*/ 463 h 818"/>
              <a:gd name="T90" fmla="*/ 280 w 798"/>
              <a:gd name="T91" fmla="*/ 488 h 818"/>
              <a:gd name="T92" fmla="*/ 200 w 798"/>
              <a:gd name="T93" fmla="*/ 471 h 818"/>
              <a:gd name="T94" fmla="*/ 133 w 798"/>
              <a:gd name="T95" fmla="*/ 427 h 818"/>
              <a:gd name="T96" fmla="*/ 82 w 798"/>
              <a:gd name="T97" fmla="*/ 342 h 818"/>
              <a:gd name="T98" fmla="*/ 73 w 798"/>
              <a:gd name="T99" fmla="*/ 260 h 818"/>
              <a:gd name="T100" fmla="*/ 107 w 798"/>
              <a:gd name="T101" fmla="*/ 164 h 818"/>
              <a:gd name="T102" fmla="*/ 164 w 798"/>
              <a:gd name="T103" fmla="*/ 109 h 818"/>
              <a:gd name="T104" fmla="*/ 257 w 798"/>
              <a:gd name="T105" fmla="*/ 73 h 818"/>
              <a:gd name="T106" fmla="*/ 341 w 798"/>
              <a:gd name="T107" fmla="*/ 82 h 818"/>
              <a:gd name="T108" fmla="*/ 426 w 798"/>
              <a:gd name="T109" fmla="*/ 133 h 818"/>
              <a:gd name="T110" fmla="*/ 471 w 798"/>
              <a:gd name="T111" fmla="*/ 200 h 818"/>
              <a:gd name="T112" fmla="*/ 486 w 798"/>
              <a:gd name="T113" fmla="*/ 280 h 818"/>
              <a:gd name="T114" fmla="*/ 462 w 798"/>
              <a:gd name="T115" fmla="*/ 379 h 8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798" h="818">
                <a:moveTo>
                  <a:pt x="280" y="120"/>
                </a:moveTo>
                <a:lnTo>
                  <a:pt x="280" y="120"/>
                </a:lnTo>
                <a:lnTo>
                  <a:pt x="254" y="121"/>
                </a:lnTo>
                <a:lnTo>
                  <a:pt x="254" y="121"/>
                </a:lnTo>
                <a:lnTo>
                  <a:pt x="249" y="121"/>
                </a:lnTo>
                <a:lnTo>
                  <a:pt x="244" y="125"/>
                </a:lnTo>
                <a:lnTo>
                  <a:pt x="240" y="128"/>
                </a:lnTo>
                <a:lnTo>
                  <a:pt x="237" y="131"/>
                </a:lnTo>
                <a:lnTo>
                  <a:pt x="234" y="137"/>
                </a:lnTo>
                <a:lnTo>
                  <a:pt x="232" y="142"/>
                </a:lnTo>
                <a:lnTo>
                  <a:pt x="232" y="147"/>
                </a:lnTo>
                <a:lnTo>
                  <a:pt x="232" y="152"/>
                </a:lnTo>
                <a:lnTo>
                  <a:pt x="232" y="152"/>
                </a:lnTo>
                <a:lnTo>
                  <a:pt x="234" y="157"/>
                </a:lnTo>
                <a:lnTo>
                  <a:pt x="235" y="162"/>
                </a:lnTo>
                <a:lnTo>
                  <a:pt x="239" y="166"/>
                </a:lnTo>
                <a:lnTo>
                  <a:pt x="242" y="171"/>
                </a:lnTo>
                <a:lnTo>
                  <a:pt x="247" y="172"/>
                </a:lnTo>
                <a:lnTo>
                  <a:pt x="252" y="174"/>
                </a:lnTo>
                <a:lnTo>
                  <a:pt x="257" y="176"/>
                </a:lnTo>
                <a:lnTo>
                  <a:pt x="263" y="174"/>
                </a:lnTo>
                <a:lnTo>
                  <a:pt x="263" y="174"/>
                </a:lnTo>
                <a:lnTo>
                  <a:pt x="280" y="174"/>
                </a:lnTo>
                <a:lnTo>
                  <a:pt x="280" y="174"/>
                </a:lnTo>
                <a:lnTo>
                  <a:pt x="290" y="174"/>
                </a:lnTo>
                <a:lnTo>
                  <a:pt x="300" y="176"/>
                </a:lnTo>
                <a:lnTo>
                  <a:pt x="319" y="181"/>
                </a:lnTo>
                <a:lnTo>
                  <a:pt x="338" y="191"/>
                </a:lnTo>
                <a:lnTo>
                  <a:pt x="353" y="203"/>
                </a:lnTo>
                <a:lnTo>
                  <a:pt x="367" y="217"/>
                </a:lnTo>
                <a:lnTo>
                  <a:pt x="375" y="234"/>
                </a:lnTo>
                <a:lnTo>
                  <a:pt x="384" y="253"/>
                </a:lnTo>
                <a:lnTo>
                  <a:pt x="385" y="273"/>
                </a:lnTo>
                <a:lnTo>
                  <a:pt x="385" y="273"/>
                </a:lnTo>
                <a:lnTo>
                  <a:pt x="387" y="280"/>
                </a:lnTo>
                <a:lnTo>
                  <a:pt x="389" y="283"/>
                </a:lnTo>
                <a:lnTo>
                  <a:pt x="394" y="292"/>
                </a:lnTo>
                <a:lnTo>
                  <a:pt x="402" y="297"/>
                </a:lnTo>
                <a:lnTo>
                  <a:pt x="408" y="299"/>
                </a:lnTo>
                <a:lnTo>
                  <a:pt x="413" y="301"/>
                </a:lnTo>
                <a:lnTo>
                  <a:pt x="413" y="301"/>
                </a:lnTo>
                <a:lnTo>
                  <a:pt x="414" y="299"/>
                </a:lnTo>
                <a:lnTo>
                  <a:pt x="414" y="299"/>
                </a:lnTo>
                <a:lnTo>
                  <a:pt x="421" y="299"/>
                </a:lnTo>
                <a:lnTo>
                  <a:pt x="426" y="297"/>
                </a:lnTo>
                <a:lnTo>
                  <a:pt x="430" y="294"/>
                </a:lnTo>
                <a:lnTo>
                  <a:pt x="433" y="290"/>
                </a:lnTo>
                <a:lnTo>
                  <a:pt x="437" y="287"/>
                </a:lnTo>
                <a:lnTo>
                  <a:pt x="440" y="282"/>
                </a:lnTo>
                <a:lnTo>
                  <a:pt x="440" y="277"/>
                </a:lnTo>
                <a:lnTo>
                  <a:pt x="440" y="270"/>
                </a:lnTo>
                <a:lnTo>
                  <a:pt x="440" y="270"/>
                </a:lnTo>
                <a:lnTo>
                  <a:pt x="438" y="254"/>
                </a:lnTo>
                <a:lnTo>
                  <a:pt x="437" y="239"/>
                </a:lnTo>
                <a:lnTo>
                  <a:pt x="431" y="225"/>
                </a:lnTo>
                <a:lnTo>
                  <a:pt x="425" y="212"/>
                </a:lnTo>
                <a:lnTo>
                  <a:pt x="418" y="198"/>
                </a:lnTo>
                <a:lnTo>
                  <a:pt x="409" y="186"/>
                </a:lnTo>
                <a:lnTo>
                  <a:pt x="401" y="174"/>
                </a:lnTo>
                <a:lnTo>
                  <a:pt x="390" y="162"/>
                </a:lnTo>
                <a:lnTo>
                  <a:pt x="379" y="154"/>
                </a:lnTo>
                <a:lnTo>
                  <a:pt x="367" y="145"/>
                </a:lnTo>
                <a:lnTo>
                  <a:pt x="355" y="137"/>
                </a:lnTo>
                <a:lnTo>
                  <a:pt x="341" y="130"/>
                </a:lnTo>
                <a:lnTo>
                  <a:pt x="326" y="125"/>
                </a:lnTo>
                <a:lnTo>
                  <a:pt x="310" y="121"/>
                </a:lnTo>
                <a:lnTo>
                  <a:pt x="295" y="120"/>
                </a:lnTo>
                <a:lnTo>
                  <a:pt x="280" y="120"/>
                </a:lnTo>
                <a:lnTo>
                  <a:pt x="280" y="120"/>
                </a:lnTo>
                <a:close/>
                <a:moveTo>
                  <a:pt x="772" y="664"/>
                </a:moveTo>
                <a:lnTo>
                  <a:pt x="749" y="640"/>
                </a:lnTo>
                <a:lnTo>
                  <a:pt x="696" y="692"/>
                </a:lnTo>
                <a:lnTo>
                  <a:pt x="696" y="692"/>
                </a:lnTo>
                <a:lnTo>
                  <a:pt x="691" y="695"/>
                </a:lnTo>
                <a:lnTo>
                  <a:pt x="685" y="697"/>
                </a:lnTo>
                <a:lnTo>
                  <a:pt x="680" y="695"/>
                </a:lnTo>
                <a:lnTo>
                  <a:pt x="675" y="692"/>
                </a:lnTo>
                <a:lnTo>
                  <a:pt x="675" y="692"/>
                </a:lnTo>
                <a:lnTo>
                  <a:pt x="672" y="688"/>
                </a:lnTo>
                <a:lnTo>
                  <a:pt x="670" y="681"/>
                </a:lnTo>
                <a:lnTo>
                  <a:pt x="672" y="676"/>
                </a:lnTo>
                <a:lnTo>
                  <a:pt x="675" y="671"/>
                </a:lnTo>
                <a:lnTo>
                  <a:pt x="728" y="620"/>
                </a:lnTo>
                <a:lnTo>
                  <a:pt x="708" y="599"/>
                </a:lnTo>
                <a:lnTo>
                  <a:pt x="656" y="652"/>
                </a:lnTo>
                <a:lnTo>
                  <a:pt x="656" y="652"/>
                </a:lnTo>
                <a:lnTo>
                  <a:pt x="651" y="656"/>
                </a:lnTo>
                <a:lnTo>
                  <a:pt x="646" y="656"/>
                </a:lnTo>
                <a:lnTo>
                  <a:pt x="639" y="656"/>
                </a:lnTo>
                <a:lnTo>
                  <a:pt x="636" y="652"/>
                </a:lnTo>
                <a:lnTo>
                  <a:pt x="636" y="652"/>
                </a:lnTo>
                <a:lnTo>
                  <a:pt x="633" y="647"/>
                </a:lnTo>
                <a:lnTo>
                  <a:pt x="631" y="642"/>
                </a:lnTo>
                <a:lnTo>
                  <a:pt x="633" y="637"/>
                </a:lnTo>
                <a:lnTo>
                  <a:pt x="636" y="632"/>
                </a:lnTo>
                <a:lnTo>
                  <a:pt x="687" y="579"/>
                </a:lnTo>
                <a:lnTo>
                  <a:pt x="668" y="560"/>
                </a:lnTo>
                <a:lnTo>
                  <a:pt x="616" y="613"/>
                </a:lnTo>
                <a:lnTo>
                  <a:pt x="616" y="613"/>
                </a:lnTo>
                <a:lnTo>
                  <a:pt x="610" y="616"/>
                </a:lnTo>
                <a:lnTo>
                  <a:pt x="605" y="616"/>
                </a:lnTo>
                <a:lnTo>
                  <a:pt x="600" y="616"/>
                </a:lnTo>
                <a:lnTo>
                  <a:pt x="595" y="613"/>
                </a:lnTo>
                <a:lnTo>
                  <a:pt x="595" y="613"/>
                </a:lnTo>
                <a:lnTo>
                  <a:pt x="592" y="608"/>
                </a:lnTo>
                <a:lnTo>
                  <a:pt x="592" y="603"/>
                </a:lnTo>
                <a:lnTo>
                  <a:pt x="592" y="596"/>
                </a:lnTo>
                <a:lnTo>
                  <a:pt x="595" y="593"/>
                </a:lnTo>
                <a:lnTo>
                  <a:pt x="648" y="540"/>
                </a:lnTo>
                <a:lnTo>
                  <a:pt x="634" y="526"/>
                </a:lnTo>
                <a:lnTo>
                  <a:pt x="634" y="526"/>
                </a:lnTo>
                <a:lnTo>
                  <a:pt x="624" y="517"/>
                </a:lnTo>
                <a:lnTo>
                  <a:pt x="612" y="509"/>
                </a:lnTo>
                <a:lnTo>
                  <a:pt x="600" y="504"/>
                </a:lnTo>
                <a:lnTo>
                  <a:pt x="588" y="500"/>
                </a:lnTo>
                <a:lnTo>
                  <a:pt x="575" y="499"/>
                </a:lnTo>
                <a:lnTo>
                  <a:pt x="563" y="499"/>
                </a:lnTo>
                <a:lnTo>
                  <a:pt x="549" y="502"/>
                </a:lnTo>
                <a:lnTo>
                  <a:pt x="537" y="505"/>
                </a:lnTo>
                <a:lnTo>
                  <a:pt x="493" y="461"/>
                </a:lnTo>
                <a:lnTo>
                  <a:pt x="493" y="461"/>
                </a:lnTo>
                <a:lnTo>
                  <a:pt x="508" y="442"/>
                </a:lnTo>
                <a:lnTo>
                  <a:pt x="522" y="422"/>
                </a:lnTo>
                <a:lnTo>
                  <a:pt x="532" y="401"/>
                </a:lnTo>
                <a:lnTo>
                  <a:pt x="542" y="379"/>
                </a:lnTo>
                <a:lnTo>
                  <a:pt x="549" y="355"/>
                </a:lnTo>
                <a:lnTo>
                  <a:pt x="556" y="331"/>
                </a:lnTo>
                <a:lnTo>
                  <a:pt x="559" y="306"/>
                </a:lnTo>
                <a:lnTo>
                  <a:pt x="559" y="280"/>
                </a:lnTo>
                <a:lnTo>
                  <a:pt x="559" y="280"/>
                </a:lnTo>
                <a:lnTo>
                  <a:pt x="558" y="251"/>
                </a:lnTo>
                <a:lnTo>
                  <a:pt x="554" y="224"/>
                </a:lnTo>
                <a:lnTo>
                  <a:pt x="547" y="196"/>
                </a:lnTo>
                <a:lnTo>
                  <a:pt x="537" y="171"/>
                </a:lnTo>
                <a:lnTo>
                  <a:pt x="525" y="147"/>
                </a:lnTo>
                <a:lnTo>
                  <a:pt x="512" y="123"/>
                </a:lnTo>
                <a:lnTo>
                  <a:pt x="496" y="102"/>
                </a:lnTo>
                <a:lnTo>
                  <a:pt x="477" y="82"/>
                </a:lnTo>
                <a:lnTo>
                  <a:pt x="457" y="63"/>
                </a:lnTo>
                <a:lnTo>
                  <a:pt x="437" y="48"/>
                </a:lnTo>
                <a:lnTo>
                  <a:pt x="413" y="34"/>
                </a:lnTo>
                <a:lnTo>
                  <a:pt x="389" y="22"/>
                </a:lnTo>
                <a:lnTo>
                  <a:pt x="363" y="12"/>
                </a:lnTo>
                <a:lnTo>
                  <a:pt x="336" y="5"/>
                </a:lnTo>
                <a:lnTo>
                  <a:pt x="309" y="2"/>
                </a:lnTo>
                <a:lnTo>
                  <a:pt x="280" y="0"/>
                </a:lnTo>
                <a:lnTo>
                  <a:pt x="280" y="0"/>
                </a:lnTo>
                <a:lnTo>
                  <a:pt x="251" y="2"/>
                </a:lnTo>
                <a:lnTo>
                  <a:pt x="223" y="5"/>
                </a:lnTo>
                <a:lnTo>
                  <a:pt x="196" y="12"/>
                </a:lnTo>
                <a:lnTo>
                  <a:pt x="171" y="22"/>
                </a:lnTo>
                <a:lnTo>
                  <a:pt x="147" y="34"/>
                </a:lnTo>
                <a:lnTo>
                  <a:pt x="123" y="48"/>
                </a:lnTo>
                <a:lnTo>
                  <a:pt x="101" y="63"/>
                </a:lnTo>
                <a:lnTo>
                  <a:pt x="82" y="82"/>
                </a:lnTo>
                <a:lnTo>
                  <a:pt x="63" y="102"/>
                </a:lnTo>
                <a:lnTo>
                  <a:pt x="48" y="123"/>
                </a:lnTo>
                <a:lnTo>
                  <a:pt x="32" y="147"/>
                </a:lnTo>
                <a:lnTo>
                  <a:pt x="22" y="171"/>
                </a:lnTo>
                <a:lnTo>
                  <a:pt x="12" y="196"/>
                </a:lnTo>
                <a:lnTo>
                  <a:pt x="5" y="224"/>
                </a:lnTo>
                <a:lnTo>
                  <a:pt x="0" y="251"/>
                </a:lnTo>
                <a:lnTo>
                  <a:pt x="0" y="280"/>
                </a:lnTo>
                <a:lnTo>
                  <a:pt x="0" y="280"/>
                </a:lnTo>
                <a:lnTo>
                  <a:pt x="0" y="309"/>
                </a:lnTo>
                <a:lnTo>
                  <a:pt x="5" y="336"/>
                </a:lnTo>
                <a:lnTo>
                  <a:pt x="12" y="364"/>
                </a:lnTo>
                <a:lnTo>
                  <a:pt x="22" y="389"/>
                </a:lnTo>
                <a:lnTo>
                  <a:pt x="32" y="415"/>
                </a:lnTo>
                <a:lnTo>
                  <a:pt x="48" y="437"/>
                </a:lnTo>
                <a:lnTo>
                  <a:pt x="63" y="459"/>
                </a:lnTo>
                <a:lnTo>
                  <a:pt x="82" y="478"/>
                </a:lnTo>
                <a:lnTo>
                  <a:pt x="101" y="497"/>
                </a:lnTo>
                <a:lnTo>
                  <a:pt x="123" y="514"/>
                </a:lnTo>
                <a:lnTo>
                  <a:pt x="147" y="528"/>
                </a:lnTo>
                <a:lnTo>
                  <a:pt x="171" y="540"/>
                </a:lnTo>
                <a:lnTo>
                  <a:pt x="196" y="548"/>
                </a:lnTo>
                <a:lnTo>
                  <a:pt x="223" y="555"/>
                </a:lnTo>
                <a:lnTo>
                  <a:pt x="251" y="560"/>
                </a:lnTo>
                <a:lnTo>
                  <a:pt x="280" y="562"/>
                </a:lnTo>
                <a:lnTo>
                  <a:pt x="280" y="562"/>
                </a:lnTo>
                <a:lnTo>
                  <a:pt x="302" y="560"/>
                </a:lnTo>
                <a:lnTo>
                  <a:pt x="324" y="558"/>
                </a:lnTo>
                <a:lnTo>
                  <a:pt x="344" y="553"/>
                </a:lnTo>
                <a:lnTo>
                  <a:pt x="365" y="548"/>
                </a:lnTo>
                <a:lnTo>
                  <a:pt x="385" y="540"/>
                </a:lnTo>
                <a:lnTo>
                  <a:pt x="404" y="531"/>
                </a:lnTo>
                <a:lnTo>
                  <a:pt x="423" y="523"/>
                </a:lnTo>
                <a:lnTo>
                  <a:pt x="440" y="511"/>
                </a:lnTo>
                <a:lnTo>
                  <a:pt x="486" y="557"/>
                </a:lnTo>
                <a:lnTo>
                  <a:pt x="486" y="557"/>
                </a:lnTo>
                <a:lnTo>
                  <a:pt x="483" y="569"/>
                </a:lnTo>
                <a:lnTo>
                  <a:pt x="481" y="582"/>
                </a:lnTo>
                <a:lnTo>
                  <a:pt x="481" y="594"/>
                </a:lnTo>
                <a:lnTo>
                  <a:pt x="483" y="608"/>
                </a:lnTo>
                <a:lnTo>
                  <a:pt x="486" y="620"/>
                </a:lnTo>
                <a:lnTo>
                  <a:pt x="491" y="632"/>
                </a:lnTo>
                <a:lnTo>
                  <a:pt x="498" y="642"/>
                </a:lnTo>
                <a:lnTo>
                  <a:pt x="506" y="654"/>
                </a:lnTo>
                <a:lnTo>
                  <a:pt x="645" y="792"/>
                </a:lnTo>
                <a:lnTo>
                  <a:pt x="645" y="792"/>
                </a:lnTo>
                <a:lnTo>
                  <a:pt x="658" y="803"/>
                </a:lnTo>
                <a:lnTo>
                  <a:pt x="675" y="811"/>
                </a:lnTo>
                <a:lnTo>
                  <a:pt x="691" y="816"/>
                </a:lnTo>
                <a:lnTo>
                  <a:pt x="708" y="818"/>
                </a:lnTo>
                <a:lnTo>
                  <a:pt x="726" y="816"/>
                </a:lnTo>
                <a:lnTo>
                  <a:pt x="742" y="811"/>
                </a:lnTo>
                <a:lnTo>
                  <a:pt x="759" y="803"/>
                </a:lnTo>
                <a:lnTo>
                  <a:pt x="772" y="792"/>
                </a:lnTo>
                <a:lnTo>
                  <a:pt x="772" y="792"/>
                </a:lnTo>
                <a:lnTo>
                  <a:pt x="772" y="792"/>
                </a:lnTo>
                <a:lnTo>
                  <a:pt x="784" y="777"/>
                </a:lnTo>
                <a:lnTo>
                  <a:pt x="791" y="762"/>
                </a:lnTo>
                <a:lnTo>
                  <a:pt x="796" y="745"/>
                </a:lnTo>
                <a:lnTo>
                  <a:pt x="798" y="727"/>
                </a:lnTo>
                <a:lnTo>
                  <a:pt x="796" y="710"/>
                </a:lnTo>
                <a:lnTo>
                  <a:pt x="791" y="693"/>
                </a:lnTo>
                <a:lnTo>
                  <a:pt x="784" y="678"/>
                </a:lnTo>
                <a:lnTo>
                  <a:pt x="772" y="664"/>
                </a:lnTo>
                <a:lnTo>
                  <a:pt x="772" y="664"/>
                </a:lnTo>
                <a:close/>
                <a:moveTo>
                  <a:pt x="426" y="427"/>
                </a:moveTo>
                <a:lnTo>
                  <a:pt x="426" y="427"/>
                </a:lnTo>
                <a:lnTo>
                  <a:pt x="411" y="441"/>
                </a:lnTo>
                <a:lnTo>
                  <a:pt x="396" y="453"/>
                </a:lnTo>
                <a:lnTo>
                  <a:pt x="379" y="463"/>
                </a:lnTo>
                <a:lnTo>
                  <a:pt x="360" y="471"/>
                </a:lnTo>
                <a:lnTo>
                  <a:pt x="341" y="478"/>
                </a:lnTo>
                <a:lnTo>
                  <a:pt x="321" y="483"/>
                </a:lnTo>
                <a:lnTo>
                  <a:pt x="300" y="487"/>
                </a:lnTo>
                <a:lnTo>
                  <a:pt x="280" y="488"/>
                </a:lnTo>
                <a:lnTo>
                  <a:pt x="280" y="488"/>
                </a:lnTo>
                <a:lnTo>
                  <a:pt x="257" y="487"/>
                </a:lnTo>
                <a:lnTo>
                  <a:pt x="237" y="483"/>
                </a:lnTo>
                <a:lnTo>
                  <a:pt x="218" y="478"/>
                </a:lnTo>
                <a:lnTo>
                  <a:pt x="200" y="471"/>
                </a:lnTo>
                <a:lnTo>
                  <a:pt x="181" y="463"/>
                </a:lnTo>
                <a:lnTo>
                  <a:pt x="164" y="453"/>
                </a:lnTo>
                <a:lnTo>
                  <a:pt x="148" y="441"/>
                </a:lnTo>
                <a:lnTo>
                  <a:pt x="133" y="427"/>
                </a:lnTo>
                <a:lnTo>
                  <a:pt x="133" y="427"/>
                </a:lnTo>
                <a:lnTo>
                  <a:pt x="119" y="413"/>
                </a:lnTo>
                <a:lnTo>
                  <a:pt x="107" y="396"/>
                </a:lnTo>
                <a:lnTo>
                  <a:pt x="97" y="379"/>
                </a:lnTo>
                <a:lnTo>
                  <a:pt x="89" y="362"/>
                </a:lnTo>
                <a:lnTo>
                  <a:pt x="82" y="342"/>
                </a:lnTo>
                <a:lnTo>
                  <a:pt x="77" y="323"/>
                </a:lnTo>
                <a:lnTo>
                  <a:pt x="73" y="302"/>
                </a:lnTo>
                <a:lnTo>
                  <a:pt x="72" y="280"/>
                </a:lnTo>
                <a:lnTo>
                  <a:pt x="72" y="280"/>
                </a:lnTo>
                <a:lnTo>
                  <a:pt x="73" y="260"/>
                </a:lnTo>
                <a:lnTo>
                  <a:pt x="77" y="239"/>
                </a:lnTo>
                <a:lnTo>
                  <a:pt x="82" y="219"/>
                </a:lnTo>
                <a:lnTo>
                  <a:pt x="89" y="200"/>
                </a:lnTo>
                <a:lnTo>
                  <a:pt x="97" y="181"/>
                </a:lnTo>
                <a:lnTo>
                  <a:pt x="107" y="164"/>
                </a:lnTo>
                <a:lnTo>
                  <a:pt x="119" y="149"/>
                </a:lnTo>
                <a:lnTo>
                  <a:pt x="133" y="133"/>
                </a:lnTo>
                <a:lnTo>
                  <a:pt x="133" y="133"/>
                </a:lnTo>
                <a:lnTo>
                  <a:pt x="148" y="121"/>
                </a:lnTo>
                <a:lnTo>
                  <a:pt x="164" y="109"/>
                </a:lnTo>
                <a:lnTo>
                  <a:pt x="181" y="97"/>
                </a:lnTo>
                <a:lnTo>
                  <a:pt x="200" y="89"/>
                </a:lnTo>
                <a:lnTo>
                  <a:pt x="218" y="82"/>
                </a:lnTo>
                <a:lnTo>
                  <a:pt x="237" y="77"/>
                </a:lnTo>
                <a:lnTo>
                  <a:pt x="257" y="73"/>
                </a:lnTo>
                <a:lnTo>
                  <a:pt x="280" y="73"/>
                </a:lnTo>
                <a:lnTo>
                  <a:pt x="280" y="73"/>
                </a:lnTo>
                <a:lnTo>
                  <a:pt x="300" y="73"/>
                </a:lnTo>
                <a:lnTo>
                  <a:pt x="321" y="77"/>
                </a:lnTo>
                <a:lnTo>
                  <a:pt x="341" y="82"/>
                </a:lnTo>
                <a:lnTo>
                  <a:pt x="360" y="89"/>
                </a:lnTo>
                <a:lnTo>
                  <a:pt x="379" y="97"/>
                </a:lnTo>
                <a:lnTo>
                  <a:pt x="396" y="109"/>
                </a:lnTo>
                <a:lnTo>
                  <a:pt x="411" y="121"/>
                </a:lnTo>
                <a:lnTo>
                  <a:pt x="426" y="133"/>
                </a:lnTo>
                <a:lnTo>
                  <a:pt x="426" y="133"/>
                </a:lnTo>
                <a:lnTo>
                  <a:pt x="440" y="149"/>
                </a:lnTo>
                <a:lnTo>
                  <a:pt x="452" y="164"/>
                </a:lnTo>
                <a:lnTo>
                  <a:pt x="462" y="181"/>
                </a:lnTo>
                <a:lnTo>
                  <a:pt x="471" y="200"/>
                </a:lnTo>
                <a:lnTo>
                  <a:pt x="477" y="219"/>
                </a:lnTo>
                <a:lnTo>
                  <a:pt x="483" y="239"/>
                </a:lnTo>
                <a:lnTo>
                  <a:pt x="486" y="260"/>
                </a:lnTo>
                <a:lnTo>
                  <a:pt x="486" y="280"/>
                </a:lnTo>
                <a:lnTo>
                  <a:pt x="486" y="280"/>
                </a:lnTo>
                <a:lnTo>
                  <a:pt x="486" y="302"/>
                </a:lnTo>
                <a:lnTo>
                  <a:pt x="483" y="323"/>
                </a:lnTo>
                <a:lnTo>
                  <a:pt x="477" y="342"/>
                </a:lnTo>
                <a:lnTo>
                  <a:pt x="471" y="362"/>
                </a:lnTo>
                <a:lnTo>
                  <a:pt x="462" y="379"/>
                </a:lnTo>
                <a:lnTo>
                  <a:pt x="452" y="396"/>
                </a:lnTo>
                <a:lnTo>
                  <a:pt x="440" y="413"/>
                </a:lnTo>
                <a:lnTo>
                  <a:pt x="426" y="427"/>
                </a:lnTo>
                <a:lnTo>
                  <a:pt x="426" y="427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lIns="119150" tIns="59574" rIns="119150" bIns="59574"/>
          <a:lstStyle>
            <a:defPPr>
              <a:defRPr lang="en-US"/>
            </a:defPPr>
            <a:lvl1pPr algn="l" defTabSz="1217613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Verdana" panose="020B0604030504040204" pitchFamily="34" charset="0"/>
                <a:ea typeface="+mn-ea"/>
                <a:cs typeface="+mn-cs"/>
              </a:defRPr>
            </a:lvl1pPr>
            <a:lvl2pPr marL="608013" indent="-150813" algn="l" defTabSz="1217613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Verdana" panose="020B0604030504040204" pitchFamily="34" charset="0"/>
                <a:ea typeface="+mn-ea"/>
                <a:cs typeface="+mn-cs"/>
              </a:defRPr>
            </a:lvl2pPr>
            <a:lvl3pPr marL="1217613" indent="-303213" algn="l" defTabSz="1217613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Verdana" panose="020B0604030504040204" pitchFamily="34" charset="0"/>
                <a:ea typeface="+mn-ea"/>
                <a:cs typeface="+mn-cs"/>
              </a:defRPr>
            </a:lvl3pPr>
            <a:lvl4pPr marL="1827213" indent="-455613" algn="l" defTabSz="1217613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Verdana" panose="020B0604030504040204" pitchFamily="34" charset="0"/>
                <a:ea typeface="+mn-ea"/>
                <a:cs typeface="+mn-cs"/>
              </a:defRPr>
            </a:lvl4pPr>
            <a:lvl5pPr marL="2436813" indent="-608013" algn="l" defTabSz="1217613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Verdana" panose="020B0604030504040204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tx1"/>
                </a:solidFill>
                <a:latin typeface="Verdana" panose="020B0604030504040204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tx1"/>
                </a:solidFill>
                <a:latin typeface="Verdana" panose="020B0604030504040204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tx1"/>
                </a:solidFill>
                <a:latin typeface="Verdana" panose="020B0604030504040204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tx1"/>
                </a:solidFill>
                <a:latin typeface="Verdana" panose="020B0604030504040204" pitchFamily="34" charset="0"/>
                <a:ea typeface="+mn-ea"/>
                <a:cs typeface="+mn-cs"/>
              </a:defRPr>
            </a:lvl9pPr>
          </a:lstStyle>
          <a:p>
            <a:pPr defTabSz="1119733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403" kern="0" dirty="0">
              <a:solidFill>
                <a:srgbClr val="074290"/>
              </a:solidFill>
              <a:latin typeface="Calibri" panose="020F0502020204030204"/>
            </a:endParaRPr>
          </a:p>
        </p:txBody>
      </p:sp>
      <p:sp>
        <p:nvSpPr>
          <p:cNvPr id="1115" name="Freeform 82">
            <a:extLst>
              <a:ext uri="{FF2B5EF4-FFF2-40B4-BE49-F238E27FC236}">
                <a16:creationId xmlns:a16="http://schemas.microsoft.com/office/drawing/2014/main" id="{4AE9EBC8-4931-37E9-B11A-40381F6548FC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614364" y="4062203"/>
            <a:ext cx="249884" cy="252815"/>
          </a:xfrm>
          <a:custGeom>
            <a:avLst/>
            <a:gdLst>
              <a:gd name="T0" fmla="*/ 249 w 798"/>
              <a:gd name="T1" fmla="*/ 121 h 818"/>
              <a:gd name="T2" fmla="*/ 232 w 798"/>
              <a:gd name="T3" fmla="*/ 142 h 818"/>
              <a:gd name="T4" fmla="*/ 235 w 798"/>
              <a:gd name="T5" fmla="*/ 162 h 818"/>
              <a:gd name="T6" fmla="*/ 257 w 798"/>
              <a:gd name="T7" fmla="*/ 176 h 818"/>
              <a:gd name="T8" fmla="*/ 290 w 798"/>
              <a:gd name="T9" fmla="*/ 174 h 818"/>
              <a:gd name="T10" fmla="*/ 367 w 798"/>
              <a:gd name="T11" fmla="*/ 217 h 818"/>
              <a:gd name="T12" fmla="*/ 387 w 798"/>
              <a:gd name="T13" fmla="*/ 280 h 818"/>
              <a:gd name="T14" fmla="*/ 413 w 798"/>
              <a:gd name="T15" fmla="*/ 301 h 818"/>
              <a:gd name="T16" fmla="*/ 426 w 798"/>
              <a:gd name="T17" fmla="*/ 297 h 818"/>
              <a:gd name="T18" fmla="*/ 440 w 798"/>
              <a:gd name="T19" fmla="*/ 277 h 818"/>
              <a:gd name="T20" fmla="*/ 431 w 798"/>
              <a:gd name="T21" fmla="*/ 225 h 818"/>
              <a:gd name="T22" fmla="*/ 390 w 798"/>
              <a:gd name="T23" fmla="*/ 162 h 818"/>
              <a:gd name="T24" fmla="*/ 326 w 798"/>
              <a:gd name="T25" fmla="*/ 125 h 818"/>
              <a:gd name="T26" fmla="*/ 772 w 798"/>
              <a:gd name="T27" fmla="*/ 664 h 818"/>
              <a:gd name="T28" fmla="*/ 685 w 798"/>
              <a:gd name="T29" fmla="*/ 697 h 818"/>
              <a:gd name="T30" fmla="*/ 670 w 798"/>
              <a:gd name="T31" fmla="*/ 681 h 818"/>
              <a:gd name="T32" fmla="*/ 656 w 798"/>
              <a:gd name="T33" fmla="*/ 652 h 818"/>
              <a:gd name="T34" fmla="*/ 636 w 798"/>
              <a:gd name="T35" fmla="*/ 652 h 818"/>
              <a:gd name="T36" fmla="*/ 636 w 798"/>
              <a:gd name="T37" fmla="*/ 632 h 818"/>
              <a:gd name="T38" fmla="*/ 610 w 798"/>
              <a:gd name="T39" fmla="*/ 616 h 818"/>
              <a:gd name="T40" fmla="*/ 592 w 798"/>
              <a:gd name="T41" fmla="*/ 608 h 818"/>
              <a:gd name="T42" fmla="*/ 634 w 798"/>
              <a:gd name="T43" fmla="*/ 526 h 818"/>
              <a:gd name="T44" fmla="*/ 588 w 798"/>
              <a:gd name="T45" fmla="*/ 500 h 818"/>
              <a:gd name="T46" fmla="*/ 493 w 798"/>
              <a:gd name="T47" fmla="*/ 461 h 818"/>
              <a:gd name="T48" fmla="*/ 542 w 798"/>
              <a:gd name="T49" fmla="*/ 379 h 818"/>
              <a:gd name="T50" fmla="*/ 559 w 798"/>
              <a:gd name="T51" fmla="*/ 280 h 818"/>
              <a:gd name="T52" fmla="*/ 525 w 798"/>
              <a:gd name="T53" fmla="*/ 147 h 818"/>
              <a:gd name="T54" fmla="*/ 437 w 798"/>
              <a:gd name="T55" fmla="*/ 48 h 818"/>
              <a:gd name="T56" fmla="*/ 309 w 798"/>
              <a:gd name="T57" fmla="*/ 2 h 818"/>
              <a:gd name="T58" fmla="*/ 196 w 798"/>
              <a:gd name="T59" fmla="*/ 12 h 818"/>
              <a:gd name="T60" fmla="*/ 82 w 798"/>
              <a:gd name="T61" fmla="*/ 82 h 818"/>
              <a:gd name="T62" fmla="*/ 12 w 798"/>
              <a:gd name="T63" fmla="*/ 196 h 818"/>
              <a:gd name="T64" fmla="*/ 0 w 798"/>
              <a:gd name="T65" fmla="*/ 309 h 818"/>
              <a:gd name="T66" fmla="*/ 48 w 798"/>
              <a:gd name="T67" fmla="*/ 437 h 818"/>
              <a:gd name="T68" fmla="*/ 147 w 798"/>
              <a:gd name="T69" fmla="*/ 528 h 818"/>
              <a:gd name="T70" fmla="*/ 280 w 798"/>
              <a:gd name="T71" fmla="*/ 562 h 818"/>
              <a:gd name="T72" fmla="*/ 365 w 798"/>
              <a:gd name="T73" fmla="*/ 548 h 818"/>
              <a:gd name="T74" fmla="*/ 486 w 798"/>
              <a:gd name="T75" fmla="*/ 557 h 818"/>
              <a:gd name="T76" fmla="*/ 483 w 798"/>
              <a:gd name="T77" fmla="*/ 608 h 818"/>
              <a:gd name="T78" fmla="*/ 645 w 798"/>
              <a:gd name="T79" fmla="*/ 792 h 818"/>
              <a:gd name="T80" fmla="*/ 708 w 798"/>
              <a:gd name="T81" fmla="*/ 818 h 818"/>
              <a:gd name="T82" fmla="*/ 772 w 798"/>
              <a:gd name="T83" fmla="*/ 792 h 818"/>
              <a:gd name="T84" fmla="*/ 798 w 798"/>
              <a:gd name="T85" fmla="*/ 727 h 818"/>
              <a:gd name="T86" fmla="*/ 772 w 798"/>
              <a:gd name="T87" fmla="*/ 664 h 818"/>
              <a:gd name="T88" fmla="*/ 379 w 798"/>
              <a:gd name="T89" fmla="*/ 463 h 818"/>
              <a:gd name="T90" fmla="*/ 280 w 798"/>
              <a:gd name="T91" fmla="*/ 488 h 818"/>
              <a:gd name="T92" fmla="*/ 200 w 798"/>
              <a:gd name="T93" fmla="*/ 471 h 818"/>
              <a:gd name="T94" fmla="*/ 133 w 798"/>
              <a:gd name="T95" fmla="*/ 427 h 818"/>
              <a:gd name="T96" fmla="*/ 82 w 798"/>
              <a:gd name="T97" fmla="*/ 342 h 818"/>
              <a:gd name="T98" fmla="*/ 73 w 798"/>
              <a:gd name="T99" fmla="*/ 260 h 818"/>
              <a:gd name="T100" fmla="*/ 107 w 798"/>
              <a:gd name="T101" fmla="*/ 164 h 818"/>
              <a:gd name="T102" fmla="*/ 164 w 798"/>
              <a:gd name="T103" fmla="*/ 109 h 818"/>
              <a:gd name="T104" fmla="*/ 257 w 798"/>
              <a:gd name="T105" fmla="*/ 73 h 818"/>
              <a:gd name="T106" fmla="*/ 341 w 798"/>
              <a:gd name="T107" fmla="*/ 82 h 818"/>
              <a:gd name="T108" fmla="*/ 426 w 798"/>
              <a:gd name="T109" fmla="*/ 133 h 818"/>
              <a:gd name="T110" fmla="*/ 471 w 798"/>
              <a:gd name="T111" fmla="*/ 200 h 818"/>
              <a:gd name="T112" fmla="*/ 486 w 798"/>
              <a:gd name="T113" fmla="*/ 280 h 818"/>
              <a:gd name="T114" fmla="*/ 462 w 798"/>
              <a:gd name="T115" fmla="*/ 379 h 8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798" h="818">
                <a:moveTo>
                  <a:pt x="280" y="120"/>
                </a:moveTo>
                <a:lnTo>
                  <a:pt x="280" y="120"/>
                </a:lnTo>
                <a:lnTo>
                  <a:pt x="254" y="121"/>
                </a:lnTo>
                <a:lnTo>
                  <a:pt x="254" y="121"/>
                </a:lnTo>
                <a:lnTo>
                  <a:pt x="249" y="121"/>
                </a:lnTo>
                <a:lnTo>
                  <a:pt x="244" y="125"/>
                </a:lnTo>
                <a:lnTo>
                  <a:pt x="240" y="128"/>
                </a:lnTo>
                <a:lnTo>
                  <a:pt x="237" y="131"/>
                </a:lnTo>
                <a:lnTo>
                  <a:pt x="234" y="137"/>
                </a:lnTo>
                <a:lnTo>
                  <a:pt x="232" y="142"/>
                </a:lnTo>
                <a:lnTo>
                  <a:pt x="232" y="147"/>
                </a:lnTo>
                <a:lnTo>
                  <a:pt x="232" y="152"/>
                </a:lnTo>
                <a:lnTo>
                  <a:pt x="232" y="152"/>
                </a:lnTo>
                <a:lnTo>
                  <a:pt x="234" y="157"/>
                </a:lnTo>
                <a:lnTo>
                  <a:pt x="235" y="162"/>
                </a:lnTo>
                <a:lnTo>
                  <a:pt x="239" y="166"/>
                </a:lnTo>
                <a:lnTo>
                  <a:pt x="242" y="171"/>
                </a:lnTo>
                <a:lnTo>
                  <a:pt x="247" y="172"/>
                </a:lnTo>
                <a:lnTo>
                  <a:pt x="252" y="174"/>
                </a:lnTo>
                <a:lnTo>
                  <a:pt x="257" y="176"/>
                </a:lnTo>
                <a:lnTo>
                  <a:pt x="263" y="174"/>
                </a:lnTo>
                <a:lnTo>
                  <a:pt x="263" y="174"/>
                </a:lnTo>
                <a:lnTo>
                  <a:pt x="280" y="174"/>
                </a:lnTo>
                <a:lnTo>
                  <a:pt x="280" y="174"/>
                </a:lnTo>
                <a:lnTo>
                  <a:pt x="290" y="174"/>
                </a:lnTo>
                <a:lnTo>
                  <a:pt x="300" y="176"/>
                </a:lnTo>
                <a:lnTo>
                  <a:pt x="319" y="181"/>
                </a:lnTo>
                <a:lnTo>
                  <a:pt x="338" y="191"/>
                </a:lnTo>
                <a:lnTo>
                  <a:pt x="353" y="203"/>
                </a:lnTo>
                <a:lnTo>
                  <a:pt x="367" y="217"/>
                </a:lnTo>
                <a:lnTo>
                  <a:pt x="375" y="234"/>
                </a:lnTo>
                <a:lnTo>
                  <a:pt x="384" y="253"/>
                </a:lnTo>
                <a:lnTo>
                  <a:pt x="385" y="273"/>
                </a:lnTo>
                <a:lnTo>
                  <a:pt x="385" y="273"/>
                </a:lnTo>
                <a:lnTo>
                  <a:pt x="387" y="280"/>
                </a:lnTo>
                <a:lnTo>
                  <a:pt x="389" y="283"/>
                </a:lnTo>
                <a:lnTo>
                  <a:pt x="394" y="292"/>
                </a:lnTo>
                <a:lnTo>
                  <a:pt x="402" y="297"/>
                </a:lnTo>
                <a:lnTo>
                  <a:pt x="408" y="299"/>
                </a:lnTo>
                <a:lnTo>
                  <a:pt x="413" y="301"/>
                </a:lnTo>
                <a:lnTo>
                  <a:pt x="413" y="301"/>
                </a:lnTo>
                <a:lnTo>
                  <a:pt x="414" y="299"/>
                </a:lnTo>
                <a:lnTo>
                  <a:pt x="414" y="299"/>
                </a:lnTo>
                <a:lnTo>
                  <a:pt x="421" y="299"/>
                </a:lnTo>
                <a:lnTo>
                  <a:pt x="426" y="297"/>
                </a:lnTo>
                <a:lnTo>
                  <a:pt x="430" y="294"/>
                </a:lnTo>
                <a:lnTo>
                  <a:pt x="433" y="290"/>
                </a:lnTo>
                <a:lnTo>
                  <a:pt x="437" y="287"/>
                </a:lnTo>
                <a:lnTo>
                  <a:pt x="440" y="282"/>
                </a:lnTo>
                <a:lnTo>
                  <a:pt x="440" y="277"/>
                </a:lnTo>
                <a:lnTo>
                  <a:pt x="440" y="270"/>
                </a:lnTo>
                <a:lnTo>
                  <a:pt x="440" y="270"/>
                </a:lnTo>
                <a:lnTo>
                  <a:pt x="438" y="254"/>
                </a:lnTo>
                <a:lnTo>
                  <a:pt x="437" y="239"/>
                </a:lnTo>
                <a:lnTo>
                  <a:pt x="431" y="225"/>
                </a:lnTo>
                <a:lnTo>
                  <a:pt x="425" y="212"/>
                </a:lnTo>
                <a:lnTo>
                  <a:pt x="418" y="198"/>
                </a:lnTo>
                <a:lnTo>
                  <a:pt x="409" y="186"/>
                </a:lnTo>
                <a:lnTo>
                  <a:pt x="401" y="174"/>
                </a:lnTo>
                <a:lnTo>
                  <a:pt x="390" y="162"/>
                </a:lnTo>
                <a:lnTo>
                  <a:pt x="379" y="154"/>
                </a:lnTo>
                <a:lnTo>
                  <a:pt x="367" y="145"/>
                </a:lnTo>
                <a:lnTo>
                  <a:pt x="355" y="137"/>
                </a:lnTo>
                <a:lnTo>
                  <a:pt x="341" y="130"/>
                </a:lnTo>
                <a:lnTo>
                  <a:pt x="326" y="125"/>
                </a:lnTo>
                <a:lnTo>
                  <a:pt x="310" y="121"/>
                </a:lnTo>
                <a:lnTo>
                  <a:pt x="295" y="120"/>
                </a:lnTo>
                <a:lnTo>
                  <a:pt x="280" y="120"/>
                </a:lnTo>
                <a:lnTo>
                  <a:pt x="280" y="120"/>
                </a:lnTo>
                <a:close/>
                <a:moveTo>
                  <a:pt x="772" y="664"/>
                </a:moveTo>
                <a:lnTo>
                  <a:pt x="749" y="640"/>
                </a:lnTo>
                <a:lnTo>
                  <a:pt x="696" y="692"/>
                </a:lnTo>
                <a:lnTo>
                  <a:pt x="696" y="692"/>
                </a:lnTo>
                <a:lnTo>
                  <a:pt x="691" y="695"/>
                </a:lnTo>
                <a:lnTo>
                  <a:pt x="685" y="697"/>
                </a:lnTo>
                <a:lnTo>
                  <a:pt x="680" y="695"/>
                </a:lnTo>
                <a:lnTo>
                  <a:pt x="675" y="692"/>
                </a:lnTo>
                <a:lnTo>
                  <a:pt x="675" y="692"/>
                </a:lnTo>
                <a:lnTo>
                  <a:pt x="672" y="688"/>
                </a:lnTo>
                <a:lnTo>
                  <a:pt x="670" y="681"/>
                </a:lnTo>
                <a:lnTo>
                  <a:pt x="672" y="676"/>
                </a:lnTo>
                <a:lnTo>
                  <a:pt x="675" y="671"/>
                </a:lnTo>
                <a:lnTo>
                  <a:pt x="728" y="620"/>
                </a:lnTo>
                <a:lnTo>
                  <a:pt x="708" y="599"/>
                </a:lnTo>
                <a:lnTo>
                  <a:pt x="656" y="652"/>
                </a:lnTo>
                <a:lnTo>
                  <a:pt x="656" y="652"/>
                </a:lnTo>
                <a:lnTo>
                  <a:pt x="651" y="656"/>
                </a:lnTo>
                <a:lnTo>
                  <a:pt x="646" y="656"/>
                </a:lnTo>
                <a:lnTo>
                  <a:pt x="639" y="656"/>
                </a:lnTo>
                <a:lnTo>
                  <a:pt x="636" y="652"/>
                </a:lnTo>
                <a:lnTo>
                  <a:pt x="636" y="652"/>
                </a:lnTo>
                <a:lnTo>
                  <a:pt x="633" y="647"/>
                </a:lnTo>
                <a:lnTo>
                  <a:pt x="631" y="642"/>
                </a:lnTo>
                <a:lnTo>
                  <a:pt x="633" y="637"/>
                </a:lnTo>
                <a:lnTo>
                  <a:pt x="636" y="632"/>
                </a:lnTo>
                <a:lnTo>
                  <a:pt x="687" y="579"/>
                </a:lnTo>
                <a:lnTo>
                  <a:pt x="668" y="560"/>
                </a:lnTo>
                <a:lnTo>
                  <a:pt x="616" y="613"/>
                </a:lnTo>
                <a:lnTo>
                  <a:pt x="616" y="613"/>
                </a:lnTo>
                <a:lnTo>
                  <a:pt x="610" y="616"/>
                </a:lnTo>
                <a:lnTo>
                  <a:pt x="605" y="616"/>
                </a:lnTo>
                <a:lnTo>
                  <a:pt x="600" y="616"/>
                </a:lnTo>
                <a:lnTo>
                  <a:pt x="595" y="613"/>
                </a:lnTo>
                <a:lnTo>
                  <a:pt x="595" y="613"/>
                </a:lnTo>
                <a:lnTo>
                  <a:pt x="592" y="608"/>
                </a:lnTo>
                <a:lnTo>
                  <a:pt x="592" y="603"/>
                </a:lnTo>
                <a:lnTo>
                  <a:pt x="592" y="596"/>
                </a:lnTo>
                <a:lnTo>
                  <a:pt x="595" y="593"/>
                </a:lnTo>
                <a:lnTo>
                  <a:pt x="648" y="540"/>
                </a:lnTo>
                <a:lnTo>
                  <a:pt x="634" y="526"/>
                </a:lnTo>
                <a:lnTo>
                  <a:pt x="634" y="526"/>
                </a:lnTo>
                <a:lnTo>
                  <a:pt x="624" y="517"/>
                </a:lnTo>
                <a:lnTo>
                  <a:pt x="612" y="509"/>
                </a:lnTo>
                <a:lnTo>
                  <a:pt x="600" y="504"/>
                </a:lnTo>
                <a:lnTo>
                  <a:pt x="588" y="500"/>
                </a:lnTo>
                <a:lnTo>
                  <a:pt x="575" y="499"/>
                </a:lnTo>
                <a:lnTo>
                  <a:pt x="563" y="499"/>
                </a:lnTo>
                <a:lnTo>
                  <a:pt x="549" y="502"/>
                </a:lnTo>
                <a:lnTo>
                  <a:pt x="537" y="505"/>
                </a:lnTo>
                <a:lnTo>
                  <a:pt x="493" y="461"/>
                </a:lnTo>
                <a:lnTo>
                  <a:pt x="493" y="461"/>
                </a:lnTo>
                <a:lnTo>
                  <a:pt x="508" y="442"/>
                </a:lnTo>
                <a:lnTo>
                  <a:pt x="522" y="422"/>
                </a:lnTo>
                <a:lnTo>
                  <a:pt x="532" y="401"/>
                </a:lnTo>
                <a:lnTo>
                  <a:pt x="542" y="379"/>
                </a:lnTo>
                <a:lnTo>
                  <a:pt x="549" y="355"/>
                </a:lnTo>
                <a:lnTo>
                  <a:pt x="556" y="331"/>
                </a:lnTo>
                <a:lnTo>
                  <a:pt x="559" y="306"/>
                </a:lnTo>
                <a:lnTo>
                  <a:pt x="559" y="280"/>
                </a:lnTo>
                <a:lnTo>
                  <a:pt x="559" y="280"/>
                </a:lnTo>
                <a:lnTo>
                  <a:pt x="558" y="251"/>
                </a:lnTo>
                <a:lnTo>
                  <a:pt x="554" y="224"/>
                </a:lnTo>
                <a:lnTo>
                  <a:pt x="547" y="196"/>
                </a:lnTo>
                <a:lnTo>
                  <a:pt x="537" y="171"/>
                </a:lnTo>
                <a:lnTo>
                  <a:pt x="525" y="147"/>
                </a:lnTo>
                <a:lnTo>
                  <a:pt x="512" y="123"/>
                </a:lnTo>
                <a:lnTo>
                  <a:pt x="496" y="102"/>
                </a:lnTo>
                <a:lnTo>
                  <a:pt x="477" y="82"/>
                </a:lnTo>
                <a:lnTo>
                  <a:pt x="457" y="63"/>
                </a:lnTo>
                <a:lnTo>
                  <a:pt x="437" y="48"/>
                </a:lnTo>
                <a:lnTo>
                  <a:pt x="413" y="34"/>
                </a:lnTo>
                <a:lnTo>
                  <a:pt x="389" y="22"/>
                </a:lnTo>
                <a:lnTo>
                  <a:pt x="363" y="12"/>
                </a:lnTo>
                <a:lnTo>
                  <a:pt x="336" y="5"/>
                </a:lnTo>
                <a:lnTo>
                  <a:pt x="309" y="2"/>
                </a:lnTo>
                <a:lnTo>
                  <a:pt x="280" y="0"/>
                </a:lnTo>
                <a:lnTo>
                  <a:pt x="280" y="0"/>
                </a:lnTo>
                <a:lnTo>
                  <a:pt x="251" y="2"/>
                </a:lnTo>
                <a:lnTo>
                  <a:pt x="223" y="5"/>
                </a:lnTo>
                <a:lnTo>
                  <a:pt x="196" y="12"/>
                </a:lnTo>
                <a:lnTo>
                  <a:pt x="171" y="22"/>
                </a:lnTo>
                <a:lnTo>
                  <a:pt x="147" y="34"/>
                </a:lnTo>
                <a:lnTo>
                  <a:pt x="123" y="48"/>
                </a:lnTo>
                <a:lnTo>
                  <a:pt x="101" y="63"/>
                </a:lnTo>
                <a:lnTo>
                  <a:pt x="82" y="82"/>
                </a:lnTo>
                <a:lnTo>
                  <a:pt x="63" y="102"/>
                </a:lnTo>
                <a:lnTo>
                  <a:pt x="48" y="123"/>
                </a:lnTo>
                <a:lnTo>
                  <a:pt x="32" y="147"/>
                </a:lnTo>
                <a:lnTo>
                  <a:pt x="22" y="171"/>
                </a:lnTo>
                <a:lnTo>
                  <a:pt x="12" y="196"/>
                </a:lnTo>
                <a:lnTo>
                  <a:pt x="5" y="224"/>
                </a:lnTo>
                <a:lnTo>
                  <a:pt x="0" y="251"/>
                </a:lnTo>
                <a:lnTo>
                  <a:pt x="0" y="280"/>
                </a:lnTo>
                <a:lnTo>
                  <a:pt x="0" y="280"/>
                </a:lnTo>
                <a:lnTo>
                  <a:pt x="0" y="309"/>
                </a:lnTo>
                <a:lnTo>
                  <a:pt x="5" y="336"/>
                </a:lnTo>
                <a:lnTo>
                  <a:pt x="12" y="364"/>
                </a:lnTo>
                <a:lnTo>
                  <a:pt x="22" y="389"/>
                </a:lnTo>
                <a:lnTo>
                  <a:pt x="32" y="415"/>
                </a:lnTo>
                <a:lnTo>
                  <a:pt x="48" y="437"/>
                </a:lnTo>
                <a:lnTo>
                  <a:pt x="63" y="459"/>
                </a:lnTo>
                <a:lnTo>
                  <a:pt x="82" y="478"/>
                </a:lnTo>
                <a:lnTo>
                  <a:pt x="101" y="497"/>
                </a:lnTo>
                <a:lnTo>
                  <a:pt x="123" y="514"/>
                </a:lnTo>
                <a:lnTo>
                  <a:pt x="147" y="528"/>
                </a:lnTo>
                <a:lnTo>
                  <a:pt x="171" y="540"/>
                </a:lnTo>
                <a:lnTo>
                  <a:pt x="196" y="548"/>
                </a:lnTo>
                <a:lnTo>
                  <a:pt x="223" y="555"/>
                </a:lnTo>
                <a:lnTo>
                  <a:pt x="251" y="560"/>
                </a:lnTo>
                <a:lnTo>
                  <a:pt x="280" y="562"/>
                </a:lnTo>
                <a:lnTo>
                  <a:pt x="280" y="562"/>
                </a:lnTo>
                <a:lnTo>
                  <a:pt x="302" y="560"/>
                </a:lnTo>
                <a:lnTo>
                  <a:pt x="324" y="558"/>
                </a:lnTo>
                <a:lnTo>
                  <a:pt x="344" y="553"/>
                </a:lnTo>
                <a:lnTo>
                  <a:pt x="365" y="548"/>
                </a:lnTo>
                <a:lnTo>
                  <a:pt x="385" y="540"/>
                </a:lnTo>
                <a:lnTo>
                  <a:pt x="404" y="531"/>
                </a:lnTo>
                <a:lnTo>
                  <a:pt x="423" y="523"/>
                </a:lnTo>
                <a:lnTo>
                  <a:pt x="440" y="511"/>
                </a:lnTo>
                <a:lnTo>
                  <a:pt x="486" y="557"/>
                </a:lnTo>
                <a:lnTo>
                  <a:pt x="486" y="557"/>
                </a:lnTo>
                <a:lnTo>
                  <a:pt x="483" y="569"/>
                </a:lnTo>
                <a:lnTo>
                  <a:pt x="481" y="582"/>
                </a:lnTo>
                <a:lnTo>
                  <a:pt x="481" y="594"/>
                </a:lnTo>
                <a:lnTo>
                  <a:pt x="483" y="608"/>
                </a:lnTo>
                <a:lnTo>
                  <a:pt x="486" y="620"/>
                </a:lnTo>
                <a:lnTo>
                  <a:pt x="491" y="632"/>
                </a:lnTo>
                <a:lnTo>
                  <a:pt x="498" y="642"/>
                </a:lnTo>
                <a:lnTo>
                  <a:pt x="506" y="654"/>
                </a:lnTo>
                <a:lnTo>
                  <a:pt x="645" y="792"/>
                </a:lnTo>
                <a:lnTo>
                  <a:pt x="645" y="792"/>
                </a:lnTo>
                <a:lnTo>
                  <a:pt x="658" y="803"/>
                </a:lnTo>
                <a:lnTo>
                  <a:pt x="675" y="811"/>
                </a:lnTo>
                <a:lnTo>
                  <a:pt x="691" y="816"/>
                </a:lnTo>
                <a:lnTo>
                  <a:pt x="708" y="818"/>
                </a:lnTo>
                <a:lnTo>
                  <a:pt x="726" y="816"/>
                </a:lnTo>
                <a:lnTo>
                  <a:pt x="742" y="811"/>
                </a:lnTo>
                <a:lnTo>
                  <a:pt x="759" y="803"/>
                </a:lnTo>
                <a:lnTo>
                  <a:pt x="772" y="792"/>
                </a:lnTo>
                <a:lnTo>
                  <a:pt x="772" y="792"/>
                </a:lnTo>
                <a:lnTo>
                  <a:pt x="772" y="792"/>
                </a:lnTo>
                <a:lnTo>
                  <a:pt x="784" y="777"/>
                </a:lnTo>
                <a:lnTo>
                  <a:pt x="791" y="762"/>
                </a:lnTo>
                <a:lnTo>
                  <a:pt x="796" y="745"/>
                </a:lnTo>
                <a:lnTo>
                  <a:pt x="798" y="727"/>
                </a:lnTo>
                <a:lnTo>
                  <a:pt x="796" y="710"/>
                </a:lnTo>
                <a:lnTo>
                  <a:pt x="791" y="693"/>
                </a:lnTo>
                <a:lnTo>
                  <a:pt x="784" y="678"/>
                </a:lnTo>
                <a:lnTo>
                  <a:pt x="772" y="664"/>
                </a:lnTo>
                <a:lnTo>
                  <a:pt x="772" y="664"/>
                </a:lnTo>
                <a:close/>
                <a:moveTo>
                  <a:pt x="426" y="427"/>
                </a:moveTo>
                <a:lnTo>
                  <a:pt x="426" y="427"/>
                </a:lnTo>
                <a:lnTo>
                  <a:pt x="411" y="441"/>
                </a:lnTo>
                <a:lnTo>
                  <a:pt x="396" y="453"/>
                </a:lnTo>
                <a:lnTo>
                  <a:pt x="379" y="463"/>
                </a:lnTo>
                <a:lnTo>
                  <a:pt x="360" y="471"/>
                </a:lnTo>
                <a:lnTo>
                  <a:pt x="341" y="478"/>
                </a:lnTo>
                <a:lnTo>
                  <a:pt x="321" y="483"/>
                </a:lnTo>
                <a:lnTo>
                  <a:pt x="300" y="487"/>
                </a:lnTo>
                <a:lnTo>
                  <a:pt x="280" y="488"/>
                </a:lnTo>
                <a:lnTo>
                  <a:pt x="280" y="488"/>
                </a:lnTo>
                <a:lnTo>
                  <a:pt x="257" y="487"/>
                </a:lnTo>
                <a:lnTo>
                  <a:pt x="237" y="483"/>
                </a:lnTo>
                <a:lnTo>
                  <a:pt x="218" y="478"/>
                </a:lnTo>
                <a:lnTo>
                  <a:pt x="200" y="471"/>
                </a:lnTo>
                <a:lnTo>
                  <a:pt x="181" y="463"/>
                </a:lnTo>
                <a:lnTo>
                  <a:pt x="164" y="453"/>
                </a:lnTo>
                <a:lnTo>
                  <a:pt x="148" y="441"/>
                </a:lnTo>
                <a:lnTo>
                  <a:pt x="133" y="427"/>
                </a:lnTo>
                <a:lnTo>
                  <a:pt x="133" y="427"/>
                </a:lnTo>
                <a:lnTo>
                  <a:pt x="119" y="413"/>
                </a:lnTo>
                <a:lnTo>
                  <a:pt x="107" y="396"/>
                </a:lnTo>
                <a:lnTo>
                  <a:pt x="97" y="379"/>
                </a:lnTo>
                <a:lnTo>
                  <a:pt x="89" y="362"/>
                </a:lnTo>
                <a:lnTo>
                  <a:pt x="82" y="342"/>
                </a:lnTo>
                <a:lnTo>
                  <a:pt x="77" y="323"/>
                </a:lnTo>
                <a:lnTo>
                  <a:pt x="73" y="302"/>
                </a:lnTo>
                <a:lnTo>
                  <a:pt x="72" y="280"/>
                </a:lnTo>
                <a:lnTo>
                  <a:pt x="72" y="280"/>
                </a:lnTo>
                <a:lnTo>
                  <a:pt x="73" y="260"/>
                </a:lnTo>
                <a:lnTo>
                  <a:pt x="77" y="239"/>
                </a:lnTo>
                <a:lnTo>
                  <a:pt x="82" y="219"/>
                </a:lnTo>
                <a:lnTo>
                  <a:pt x="89" y="200"/>
                </a:lnTo>
                <a:lnTo>
                  <a:pt x="97" y="181"/>
                </a:lnTo>
                <a:lnTo>
                  <a:pt x="107" y="164"/>
                </a:lnTo>
                <a:lnTo>
                  <a:pt x="119" y="149"/>
                </a:lnTo>
                <a:lnTo>
                  <a:pt x="133" y="133"/>
                </a:lnTo>
                <a:lnTo>
                  <a:pt x="133" y="133"/>
                </a:lnTo>
                <a:lnTo>
                  <a:pt x="148" y="121"/>
                </a:lnTo>
                <a:lnTo>
                  <a:pt x="164" y="109"/>
                </a:lnTo>
                <a:lnTo>
                  <a:pt x="181" y="97"/>
                </a:lnTo>
                <a:lnTo>
                  <a:pt x="200" y="89"/>
                </a:lnTo>
                <a:lnTo>
                  <a:pt x="218" y="82"/>
                </a:lnTo>
                <a:lnTo>
                  <a:pt x="237" y="77"/>
                </a:lnTo>
                <a:lnTo>
                  <a:pt x="257" y="73"/>
                </a:lnTo>
                <a:lnTo>
                  <a:pt x="280" y="73"/>
                </a:lnTo>
                <a:lnTo>
                  <a:pt x="280" y="73"/>
                </a:lnTo>
                <a:lnTo>
                  <a:pt x="300" y="73"/>
                </a:lnTo>
                <a:lnTo>
                  <a:pt x="321" y="77"/>
                </a:lnTo>
                <a:lnTo>
                  <a:pt x="341" y="82"/>
                </a:lnTo>
                <a:lnTo>
                  <a:pt x="360" y="89"/>
                </a:lnTo>
                <a:lnTo>
                  <a:pt x="379" y="97"/>
                </a:lnTo>
                <a:lnTo>
                  <a:pt x="396" y="109"/>
                </a:lnTo>
                <a:lnTo>
                  <a:pt x="411" y="121"/>
                </a:lnTo>
                <a:lnTo>
                  <a:pt x="426" y="133"/>
                </a:lnTo>
                <a:lnTo>
                  <a:pt x="426" y="133"/>
                </a:lnTo>
                <a:lnTo>
                  <a:pt x="440" y="149"/>
                </a:lnTo>
                <a:lnTo>
                  <a:pt x="452" y="164"/>
                </a:lnTo>
                <a:lnTo>
                  <a:pt x="462" y="181"/>
                </a:lnTo>
                <a:lnTo>
                  <a:pt x="471" y="200"/>
                </a:lnTo>
                <a:lnTo>
                  <a:pt x="477" y="219"/>
                </a:lnTo>
                <a:lnTo>
                  <a:pt x="483" y="239"/>
                </a:lnTo>
                <a:lnTo>
                  <a:pt x="486" y="260"/>
                </a:lnTo>
                <a:lnTo>
                  <a:pt x="486" y="280"/>
                </a:lnTo>
                <a:lnTo>
                  <a:pt x="486" y="280"/>
                </a:lnTo>
                <a:lnTo>
                  <a:pt x="486" y="302"/>
                </a:lnTo>
                <a:lnTo>
                  <a:pt x="483" y="323"/>
                </a:lnTo>
                <a:lnTo>
                  <a:pt x="477" y="342"/>
                </a:lnTo>
                <a:lnTo>
                  <a:pt x="471" y="362"/>
                </a:lnTo>
                <a:lnTo>
                  <a:pt x="462" y="379"/>
                </a:lnTo>
                <a:lnTo>
                  <a:pt x="452" y="396"/>
                </a:lnTo>
                <a:lnTo>
                  <a:pt x="440" y="413"/>
                </a:lnTo>
                <a:lnTo>
                  <a:pt x="426" y="427"/>
                </a:lnTo>
                <a:lnTo>
                  <a:pt x="426" y="427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lIns="119150" tIns="59574" rIns="119150" bIns="59574"/>
          <a:lstStyle>
            <a:defPPr>
              <a:defRPr lang="en-US"/>
            </a:defPPr>
            <a:lvl1pPr algn="l" defTabSz="1217613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Verdana" panose="020B0604030504040204" pitchFamily="34" charset="0"/>
                <a:ea typeface="+mn-ea"/>
                <a:cs typeface="+mn-cs"/>
              </a:defRPr>
            </a:lvl1pPr>
            <a:lvl2pPr marL="608013" indent="-150813" algn="l" defTabSz="1217613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Verdana" panose="020B0604030504040204" pitchFamily="34" charset="0"/>
                <a:ea typeface="+mn-ea"/>
                <a:cs typeface="+mn-cs"/>
              </a:defRPr>
            </a:lvl2pPr>
            <a:lvl3pPr marL="1217613" indent="-303213" algn="l" defTabSz="1217613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Verdana" panose="020B0604030504040204" pitchFamily="34" charset="0"/>
                <a:ea typeface="+mn-ea"/>
                <a:cs typeface="+mn-cs"/>
              </a:defRPr>
            </a:lvl3pPr>
            <a:lvl4pPr marL="1827213" indent="-455613" algn="l" defTabSz="1217613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Verdana" panose="020B0604030504040204" pitchFamily="34" charset="0"/>
                <a:ea typeface="+mn-ea"/>
                <a:cs typeface="+mn-cs"/>
              </a:defRPr>
            </a:lvl4pPr>
            <a:lvl5pPr marL="2436813" indent="-608013" algn="l" defTabSz="1217613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Verdana" panose="020B0604030504040204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tx1"/>
                </a:solidFill>
                <a:latin typeface="Verdana" panose="020B0604030504040204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tx1"/>
                </a:solidFill>
                <a:latin typeface="Verdana" panose="020B0604030504040204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tx1"/>
                </a:solidFill>
                <a:latin typeface="Verdana" panose="020B0604030504040204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tx1"/>
                </a:solidFill>
                <a:latin typeface="Verdana" panose="020B0604030504040204" pitchFamily="34" charset="0"/>
                <a:ea typeface="+mn-ea"/>
                <a:cs typeface="+mn-cs"/>
              </a:defRPr>
            </a:lvl9pPr>
          </a:lstStyle>
          <a:p>
            <a:pPr defTabSz="1119733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403" kern="0" dirty="0">
              <a:solidFill>
                <a:srgbClr val="074290"/>
              </a:solidFill>
              <a:latin typeface="Calibri" panose="020F0502020204030204"/>
            </a:endParaRPr>
          </a:p>
        </p:txBody>
      </p:sp>
      <p:sp>
        <p:nvSpPr>
          <p:cNvPr id="1116" name="Freeform 82">
            <a:extLst>
              <a:ext uri="{FF2B5EF4-FFF2-40B4-BE49-F238E27FC236}">
                <a16:creationId xmlns:a16="http://schemas.microsoft.com/office/drawing/2014/main" id="{FD5E37B7-62FA-6C3F-78F4-C24D29A4E55E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2318939" y="4062203"/>
            <a:ext cx="249884" cy="252815"/>
          </a:xfrm>
          <a:custGeom>
            <a:avLst/>
            <a:gdLst>
              <a:gd name="T0" fmla="*/ 249 w 798"/>
              <a:gd name="T1" fmla="*/ 121 h 818"/>
              <a:gd name="T2" fmla="*/ 232 w 798"/>
              <a:gd name="T3" fmla="*/ 142 h 818"/>
              <a:gd name="T4" fmla="*/ 235 w 798"/>
              <a:gd name="T5" fmla="*/ 162 h 818"/>
              <a:gd name="T6" fmla="*/ 257 w 798"/>
              <a:gd name="T7" fmla="*/ 176 h 818"/>
              <a:gd name="T8" fmla="*/ 290 w 798"/>
              <a:gd name="T9" fmla="*/ 174 h 818"/>
              <a:gd name="T10" fmla="*/ 367 w 798"/>
              <a:gd name="T11" fmla="*/ 217 h 818"/>
              <a:gd name="T12" fmla="*/ 387 w 798"/>
              <a:gd name="T13" fmla="*/ 280 h 818"/>
              <a:gd name="T14" fmla="*/ 413 w 798"/>
              <a:gd name="T15" fmla="*/ 301 h 818"/>
              <a:gd name="T16" fmla="*/ 426 w 798"/>
              <a:gd name="T17" fmla="*/ 297 h 818"/>
              <a:gd name="T18" fmla="*/ 440 w 798"/>
              <a:gd name="T19" fmla="*/ 277 h 818"/>
              <a:gd name="T20" fmla="*/ 431 w 798"/>
              <a:gd name="T21" fmla="*/ 225 h 818"/>
              <a:gd name="T22" fmla="*/ 390 w 798"/>
              <a:gd name="T23" fmla="*/ 162 h 818"/>
              <a:gd name="T24" fmla="*/ 326 w 798"/>
              <a:gd name="T25" fmla="*/ 125 h 818"/>
              <a:gd name="T26" fmla="*/ 772 w 798"/>
              <a:gd name="T27" fmla="*/ 664 h 818"/>
              <a:gd name="T28" fmla="*/ 685 w 798"/>
              <a:gd name="T29" fmla="*/ 697 h 818"/>
              <a:gd name="T30" fmla="*/ 670 w 798"/>
              <a:gd name="T31" fmla="*/ 681 h 818"/>
              <a:gd name="T32" fmla="*/ 656 w 798"/>
              <a:gd name="T33" fmla="*/ 652 h 818"/>
              <a:gd name="T34" fmla="*/ 636 w 798"/>
              <a:gd name="T35" fmla="*/ 652 h 818"/>
              <a:gd name="T36" fmla="*/ 636 w 798"/>
              <a:gd name="T37" fmla="*/ 632 h 818"/>
              <a:gd name="T38" fmla="*/ 610 w 798"/>
              <a:gd name="T39" fmla="*/ 616 h 818"/>
              <a:gd name="T40" fmla="*/ 592 w 798"/>
              <a:gd name="T41" fmla="*/ 608 h 818"/>
              <a:gd name="T42" fmla="*/ 634 w 798"/>
              <a:gd name="T43" fmla="*/ 526 h 818"/>
              <a:gd name="T44" fmla="*/ 588 w 798"/>
              <a:gd name="T45" fmla="*/ 500 h 818"/>
              <a:gd name="T46" fmla="*/ 493 w 798"/>
              <a:gd name="T47" fmla="*/ 461 h 818"/>
              <a:gd name="T48" fmla="*/ 542 w 798"/>
              <a:gd name="T49" fmla="*/ 379 h 818"/>
              <a:gd name="T50" fmla="*/ 559 w 798"/>
              <a:gd name="T51" fmla="*/ 280 h 818"/>
              <a:gd name="T52" fmla="*/ 525 w 798"/>
              <a:gd name="T53" fmla="*/ 147 h 818"/>
              <a:gd name="T54" fmla="*/ 437 w 798"/>
              <a:gd name="T55" fmla="*/ 48 h 818"/>
              <a:gd name="T56" fmla="*/ 309 w 798"/>
              <a:gd name="T57" fmla="*/ 2 h 818"/>
              <a:gd name="T58" fmla="*/ 196 w 798"/>
              <a:gd name="T59" fmla="*/ 12 h 818"/>
              <a:gd name="T60" fmla="*/ 82 w 798"/>
              <a:gd name="T61" fmla="*/ 82 h 818"/>
              <a:gd name="T62" fmla="*/ 12 w 798"/>
              <a:gd name="T63" fmla="*/ 196 h 818"/>
              <a:gd name="T64" fmla="*/ 0 w 798"/>
              <a:gd name="T65" fmla="*/ 309 h 818"/>
              <a:gd name="T66" fmla="*/ 48 w 798"/>
              <a:gd name="T67" fmla="*/ 437 h 818"/>
              <a:gd name="T68" fmla="*/ 147 w 798"/>
              <a:gd name="T69" fmla="*/ 528 h 818"/>
              <a:gd name="T70" fmla="*/ 280 w 798"/>
              <a:gd name="T71" fmla="*/ 562 h 818"/>
              <a:gd name="T72" fmla="*/ 365 w 798"/>
              <a:gd name="T73" fmla="*/ 548 h 818"/>
              <a:gd name="T74" fmla="*/ 486 w 798"/>
              <a:gd name="T75" fmla="*/ 557 h 818"/>
              <a:gd name="T76" fmla="*/ 483 w 798"/>
              <a:gd name="T77" fmla="*/ 608 h 818"/>
              <a:gd name="T78" fmla="*/ 645 w 798"/>
              <a:gd name="T79" fmla="*/ 792 h 818"/>
              <a:gd name="T80" fmla="*/ 708 w 798"/>
              <a:gd name="T81" fmla="*/ 818 h 818"/>
              <a:gd name="T82" fmla="*/ 772 w 798"/>
              <a:gd name="T83" fmla="*/ 792 h 818"/>
              <a:gd name="T84" fmla="*/ 798 w 798"/>
              <a:gd name="T85" fmla="*/ 727 h 818"/>
              <a:gd name="T86" fmla="*/ 772 w 798"/>
              <a:gd name="T87" fmla="*/ 664 h 818"/>
              <a:gd name="T88" fmla="*/ 379 w 798"/>
              <a:gd name="T89" fmla="*/ 463 h 818"/>
              <a:gd name="T90" fmla="*/ 280 w 798"/>
              <a:gd name="T91" fmla="*/ 488 h 818"/>
              <a:gd name="T92" fmla="*/ 200 w 798"/>
              <a:gd name="T93" fmla="*/ 471 h 818"/>
              <a:gd name="T94" fmla="*/ 133 w 798"/>
              <a:gd name="T95" fmla="*/ 427 h 818"/>
              <a:gd name="T96" fmla="*/ 82 w 798"/>
              <a:gd name="T97" fmla="*/ 342 h 818"/>
              <a:gd name="T98" fmla="*/ 73 w 798"/>
              <a:gd name="T99" fmla="*/ 260 h 818"/>
              <a:gd name="T100" fmla="*/ 107 w 798"/>
              <a:gd name="T101" fmla="*/ 164 h 818"/>
              <a:gd name="T102" fmla="*/ 164 w 798"/>
              <a:gd name="T103" fmla="*/ 109 h 818"/>
              <a:gd name="T104" fmla="*/ 257 w 798"/>
              <a:gd name="T105" fmla="*/ 73 h 818"/>
              <a:gd name="T106" fmla="*/ 341 w 798"/>
              <a:gd name="T107" fmla="*/ 82 h 818"/>
              <a:gd name="T108" fmla="*/ 426 w 798"/>
              <a:gd name="T109" fmla="*/ 133 h 818"/>
              <a:gd name="T110" fmla="*/ 471 w 798"/>
              <a:gd name="T111" fmla="*/ 200 h 818"/>
              <a:gd name="T112" fmla="*/ 486 w 798"/>
              <a:gd name="T113" fmla="*/ 280 h 818"/>
              <a:gd name="T114" fmla="*/ 462 w 798"/>
              <a:gd name="T115" fmla="*/ 379 h 8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798" h="818">
                <a:moveTo>
                  <a:pt x="280" y="120"/>
                </a:moveTo>
                <a:lnTo>
                  <a:pt x="280" y="120"/>
                </a:lnTo>
                <a:lnTo>
                  <a:pt x="254" y="121"/>
                </a:lnTo>
                <a:lnTo>
                  <a:pt x="254" y="121"/>
                </a:lnTo>
                <a:lnTo>
                  <a:pt x="249" y="121"/>
                </a:lnTo>
                <a:lnTo>
                  <a:pt x="244" y="125"/>
                </a:lnTo>
                <a:lnTo>
                  <a:pt x="240" y="128"/>
                </a:lnTo>
                <a:lnTo>
                  <a:pt x="237" y="131"/>
                </a:lnTo>
                <a:lnTo>
                  <a:pt x="234" y="137"/>
                </a:lnTo>
                <a:lnTo>
                  <a:pt x="232" y="142"/>
                </a:lnTo>
                <a:lnTo>
                  <a:pt x="232" y="147"/>
                </a:lnTo>
                <a:lnTo>
                  <a:pt x="232" y="152"/>
                </a:lnTo>
                <a:lnTo>
                  <a:pt x="232" y="152"/>
                </a:lnTo>
                <a:lnTo>
                  <a:pt x="234" y="157"/>
                </a:lnTo>
                <a:lnTo>
                  <a:pt x="235" y="162"/>
                </a:lnTo>
                <a:lnTo>
                  <a:pt x="239" y="166"/>
                </a:lnTo>
                <a:lnTo>
                  <a:pt x="242" y="171"/>
                </a:lnTo>
                <a:lnTo>
                  <a:pt x="247" y="172"/>
                </a:lnTo>
                <a:lnTo>
                  <a:pt x="252" y="174"/>
                </a:lnTo>
                <a:lnTo>
                  <a:pt x="257" y="176"/>
                </a:lnTo>
                <a:lnTo>
                  <a:pt x="263" y="174"/>
                </a:lnTo>
                <a:lnTo>
                  <a:pt x="263" y="174"/>
                </a:lnTo>
                <a:lnTo>
                  <a:pt x="280" y="174"/>
                </a:lnTo>
                <a:lnTo>
                  <a:pt x="280" y="174"/>
                </a:lnTo>
                <a:lnTo>
                  <a:pt x="290" y="174"/>
                </a:lnTo>
                <a:lnTo>
                  <a:pt x="300" y="176"/>
                </a:lnTo>
                <a:lnTo>
                  <a:pt x="319" y="181"/>
                </a:lnTo>
                <a:lnTo>
                  <a:pt x="338" y="191"/>
                </a:lnTo>
                <a:lnTo>
                  <a:pt x="353" y="203"/>
                </a:lnTo>
                <a:lnTo>
                  <a:pt x="367" y="217"/>
                </a:lnTo>
                <a:lnTo>
                  <a:pt x="375" y="234"/>
                </a:lnTo>
                <a:lnTo>
                  <a:pt x="384" y="253"/>
                </a:lnTo>
                <a:lnTo>
                  <a:pt x="385" y="273"/>
                </a:lnTo>
                <a:lnTo>
                  <a:pt x="385" y="273"/>
                </a:lnTo>
                <a:lnTo>
                  <a:pt x="387" y="280"/>
                </a:lnTo>
                <a:lnTo>
                  <a:pt x="389" y="283"/>
                </a:lnTo>
                <a:lnTo>
                  <a:pt x="394" y="292"/>
                </a:lnTo>
                <a:lnTo>
                  <a:pt x="402" y="297"/>
                </a:lnTo>
                <a:lnTo>
                  <a:pt x="408" y="299"/>
                </a:lnTo>
                <a:lnTo>
                  <a:pt x="413" y="301"/>
                </a:lnTo>
                <a:lnTo>
                  <a:pt x="413" y="301"/>
                </a:lnTo>
                <a:lnTo>
                  <a:pt x="414" y="299"/>
                </a:lnTo>
                <a:lnTo>
                  <a:pt x="414" y="299"/>
                </a:lnTo>
                <a:lnTo>
                  <a:pt x="421" y="299"/>
                </a:lnTo>
                <a:lnTo>
                  <a:pt x="426" y="297"/>
                </a:lnTo>
                <a:lnTo>
                  <a:pt x="430" y="294"/>
                </a:lnTo>
                <a:lnTo>
                  <a:pt x="433" y="290"/>
                </a:lnTo>
                <a:lnTo>
                  <a:pt x="437" y="287"/>
                </a:lnTo>
                <a:lnTo>
                  <a:pt x="440" y="282"/>
                </a:lnTo>
                <a:lnTo>
                  <a:pt x="440" y="277"/>
                </a:lnTo>
                <a:lnTo>
                  <a:pt x="440" y="270"/>
                </a:lnTo>
                <a:lnTo>
                  <a:pt x="440" y="270"/>
                </a:lnTo>
                <a:lnTo>
                  <a:pt x="438" y="254"/>
                </a:lnTo>
                <a:lnTo>
                  <a:pt x="437" y="239"/>
                </a:lnTo>
                <a:lnTo>
                  <a:pt x="431" y="225"/>
                </a:lnTo>
                <a:lnTo>
                  <a:pt x="425" y="212"/>
                </a:lnTo>
                <a:lnTo>
                  <a:pt x="418" y="198"/>
                </a:lnTo>
                <a:lnTo>
                  <a:pt x="409" y="186"/>
                </a:lnTo>
                <a:lnTo>
                  <a:pt x="401" y="174"/>
                </a:lnTo>
                <a:lnTo>
                  <a:pt x="390" y="162"/>
                </a:lnTo>
                <a:lnTo>
                  <a:pt x="379" y="154"/>
                </a:lnTo>
                <a:lnTo>
                  <a:pt x="367" y="145"/>
                </a:lnTo>
                <a:lnTo>
                  <a:pt x="355" y="137"/>
                </a:lnTo>
                <a:lnTo>
                  <a:pt x="341" y="130"/>
                </a:lnTo>
                <a:lnTo>
                  <a:pt x="326" y="125"/>
                </a:lnTo>
                <a:lnTo>
                  <a:pt x="310" y="121"/>
                </a:lnTo>
                <a:lnTo>
                  <a:pt x="295" y="120"/>
                </a:lnTo>
                <a:lnTo>
                  <a:pt x="280" y="120"/>
                </a:lnTo>
                <a:lnTo>
                  <a:pt x="280" y="120"/>
                </a:lnTo>
                <a:close/>
                <a:moveTo>
                  <a:pt x="772" y="664"/>
                </a:moveTo>
                <a:lnTo>
                  <a:pt x="749" y="640"/>
                </a:lnTo>
                <a:lnTo>
                  <a:pt x="696" y="692"/>
                </a:lnTo>
                <a:lnTo>
                  <a:pt x="696" y="692"/>
                </a:lnTo>
                <a:lnTo>
                  <a:pt x="691" y="695"/>
                </a:lnTo>
                <a:lnTo>
                  <a:pt x="685" y="697"/>
                </a:lnTo>
                <a:lnTo>
                  <a:pt x="680" y="695"/>
                </a:lnTo>
                <a:lnTo>
                  <a:pt x="675" y="692"/>
                </a:lnTo>
                <a:lnTo>
                  <a:pt x="675" y="692"/>
                </a:lnTo>
                <a:lnTo>
                  <a:pt x="672" y="688"/>
                </a:lnTo>
                <a:lnTo>
                  <a:pt x="670" y="681"/>
                </a:lnTo>
                <a:lnTo>
                  <a:pt x="672" y="676"/>
                </a:lnTo>
                <a:lnTo>
                  <a:pt x="675" y="671"/>
                </a:lnTo>
                <a:lnTo>
                  <a:pt x="728" y="620"/>
                </a:lnTo>
                <a:lnTo>
                  <a:pt x="708" y="599"/>
                </a:lnTo>
                <a:lnTo>
                  <a:pt x="656" y="652"/>
                </a:lnTo>
                <a:lnTo>
                  <a:pt x="656" y="652"/>
                </a:lnTo>
                <a:lnTo>
                  <a:pt x="651" y="656"/>
                </a:lnTo>
                <a:lnTo>
                  <a:pt x="646" y="656"/>
                </a:lnTo>
                <a:lnTo>
                  <a:pt x="639" y="656"/>
                </a:lnTo>
                <a:lnTo>
                  <a:pt x="636" y="652"/>
                </a:lnTo>
                <a:lnTo>
                  <a:pt x="636" y="652"/>
                </a:lnTo>
                <a:lnTo>
                  <a:pt x="633" y="647"/>
                </a:lnTo>
                <a:lnTo>
                  <a:pt x="631" y="642"/>
                </a:lnTo>
                <a:lnTo>
                  <a:pt x="633" y="637"/>
                </a:lnTo>
                <a:lnTo>
                  <a:pt x="636" y="632"/>
                </a:lnTo>
                <a:lnTo>
                  <a:pt x="687" y="579"/>
                </a:lnTo>
                <a:lnTo>
                  <a:pt x="668" y="560"/>
                </a:lnTo>
                <a:lnTo>
                  <a:pt x="616" y="613"/>
                </a:lnTo>
                <a:lnTo>
                  <a:pt x="616" y="613"/>
                </a:lnTo>
                <a:lnTo>
                  <a:pt x="610" y="616"/>
                </a:lnTo>
                <a:lnTo>
                  <a:pt x="605" y="616"/>
                </a:lnTo>
                <a:lnTo>
                  <a:pt x="600" y="616"/>
                </a:lnTo>
                <a:lnTo>
                  <a:pt x="595" y="613"/>
                </a:lnTo>
                <a:lnTo>
                  <a:pt x="595" y="613"/>
                </a:lnTo>
                <a:lnTo>
                  <a:pt x="592" y="608"/>
                </a:lnTo>
                <a:lnTo>
                  <a:pt x="592" y="603"/>
                </a:lnTo>
                <a:lnTo>
                  <a:pt x="592" y="596"/>
                </a:lnTo>
                <a:lnTo>
                  <a:pt x="595" y="593"/>
                </a:lnTo>
                <a:lnTo>
                  <a:pt x="648" y="540"/>
                </a:lnTo>
                <a:lnTo>
                  <a:pt x="634" y="526"/>
                </a:lnTo>
                <a:lnTo>
                  <a:pt x="634" y="526"/>
                </a:lnTo>
                <a:lnTo>
                  <a:pt x="624" y="517"/>
                </a:lnTo>
                <a:lnTo>
                  <a:pt x="612" y="509"/>
                </a:lnTo>
                <a:lnTo>
                  <a:pt x="600" y="504"/>
                </a:lnTo>
                <a:lnTo>
                  <a:pt x="588" y="500"/>
                </a:lnTo>
                <a:lnTo>
                  <a:pt x="575" y="499"/>
                </a:lnTo>
                <a:lnTo>
                  <a:pt x="563" y="499"/>
                </a:lnTo>
                <a:lnTo>
                  <a:pt x="549" y="502"/>
                </a:lnTo>
                <a:lnTo>
                  <a:pt x="537" y="505"/>
                </a:lnTo>
                <a:lnTo>
                  <a:pt x="493" y="461"/>
                </a:lnTo>
                <a:lnTo>
                  <a:pt x="493" y="461"/>
                </a:lnTo>
                <a:lnTo>
                  <a:pt x="508" y="442"/>
                </a:lnTo>
                <a:lnTo>
                  <a:pt x="522" y="422"/>
                </a:lnTo>
                <a:lnTo>
                  <a:pt x="532" y="401"/>
                </a:lnTo>
                <a:lnTo>
                  <a:pt x="542" y="379"/>
                </a:lnTo>
                <a:lnTo>
                  <a:pt x="549" y="355"/>
                </a:lnTo>
                <a:lnTo>
                  <a:pt x="556" y="331"/>
                </a:lnTo>
                <a:lnTo>
                  <a:pt x="559" y="306"/>
                </a:lnTo>
                <a:lnTo>
                  <a:pt x="559" y="280"/>
                </a:lnTo>
                <a:lnTo>
                  <a:pt x="559" y="280"/>
                </a:lnTo>
                <a:lnTo>
                  <a:pt x="558" y="251"/>
                </a:lnTo>
                <a:lnTo>
                  <a:pt x="554" y="224"/>
                </a:lnTo>
                <a:lnTo>
                  <a:pt x="547" y="196"/>
                </a:lnTo>
                <a:lnTo>
                  <a:pt x="537" y="171"/>
                </a:lnTo>
                <a:lnTo>
                  <a:pt x="525" y="147"/>
                </a:lnTo>
                <a:lnTo>
                  <a:pt x="512" y="123"/>
                </a:lnTo>
                <a:lnTo>
                  <a:pt x="496" y="102"/>
                </a:lnTo>
                <a:lnTo>
                  <a:pt x="477" y="82"/>
                </a:lnTo>
                <a:lnTo>
                  <a:pt x="457" y="63"/>
                </a:lnTo>
                <a:lnTo>
                  <a:pt x="437" y="48"/>
                </a:lnTo>
                <a:lnTo>
                  <a:pt x="413" y="34"/>
                </a:lnTo>
                <a:lnTo>
                  <a:pt x="389" y="22"/>
                </a:lnTo>
                <a:lnTo>
                  <a:pt x="363" y="12"/>
                </a:lnTo>
                <a:lnTo>
                  <a:pt x="336" y="5"/>
                </a:lnTo>
                <a:lnTo>
                  <a:pt x="309" y="2"/>
                </a:lnTo>
                <a:lnTo>
                  <a:pt x="280" y="0"/>
                </a:lnTo>
                <a:lnTo>
                  <a:pt x="280" y="0"/>
                </a:lnTo>
                <a:lnTo>
                  <a:pt x="251" y="2"/>
                </a:lnTo>
                <a:lnTo>
                  <a:pt x="223" y="5"/>
                </a:lnTo>
                <a:lnTo>
                  <a:pt x="196" y="12"/>
                </a:lnTo>
                <a:lnTo>
                  <a:pt x="171" y="22"/>
                </a:lnTo>
                <a:lnTo>
                  <a:pt x="147" y="34"/>
                </a:lnTo>
                <a:lnTo>
                  <a:pt x="123" y="48"/>
                </a:lnTo>
                <a:lnTo>
                  <a:pt x="101" y="63"/>
                </a:lnTo>
                <a:lnTo>
                  <a:pt x="82" y="82"/>
                </a:lnTo>
                <a:lnTo>
                  <a:pt x="63" y="102"/>
                </a:lnTo>
                <a:lnTo>
                  <a:pt x="48" y="123"/>
                </a:lnTo>
                <a:lnTo>
                  <a:pt x="32" y="147"/>
                </a:lnTo>
                <a:lnTo>
                  <a:pt x="22" y="171"/>
                </a:lnTo>
                <a:lnTo>
                  <a:pt x="12" y="196"/>
                </a:lnTo>
                <a:lnTo>
                  <a:pt x="5" y="224"/>
                </a:lnTo>
                <a:lnTo>
                  <a:pt x="0" y="251"/>
                </a:lnTo>
                <a:lnTo>
                  <a:pt x="0" y="280"/>
                </a:lnTo>
                <a:lnTo>
                  <a:pt x="0" y="280"/>
                </a:lnTo>
                <a:lnTo>
                  <a:pt x="0" y="309"/>
                </a:lnTo>
                <a:lnTo>
                  <a:pt x="5" y="336"/>
                </a:lnTo>
                <a:lnTo>
                  <a:pt x="12" y="364"/>
                </a:lnTo>
                <a:lnTo>
                  <a:pt x="22" y="389"/>
                </a:lnTo>
                <a:lnTo>
                  <a:pt x="32" y="415"/>
                </a:lnTo>
                <a:lnTo>
                  <a:pt x="48" y="437"/>
                </a:lnTo>
                <a:lnTo>
                  <a:pt x="63" y="459"/>
                </a:lnTo>
                <a:lnTo>
                  <a:pt x="82" y="478"/>
                </a:lnTo>
                <a:lnTo>
                  <a:pt x="101" y="497"/>
                </a:lnTo>
                <a:lnTo>
                  <a:pt x="123" y="514"/>
                </a:lnTo>
                <a:lnTo>
                  <a:pt x="147" y="528"/>
                </a:lnTo>
                <a:lnTo>
                  <a:pt x="171" y="540"/>
                </a:lnTo>
                <a:lnTo>
                  <a:pt x="196" y="548"/>
                </a:lnTo>
                <a:lnTo>
                  <a:pt x="223" y="555"/>
                </a:lnTo>
                <a:lnTo>
                  <a:pt x="251" y="560"/>
                </a:lnTo>
                <a:lnTo>
                  <a:pt x="280" y="562"/>
                </a:lnTo>
                <a:lnTo>
                  <a:pt x="280" y="562"/>
                </a:lnTo>
                <a:lnTo>
                  <a:pt x="302" y="560"/>
                </a:lnTo>
                <a:lnTo>
                  <a:pt x="324" y="558"/>
                </a:lnTo>
                <a:lnTo>
                  <a:pt x="344" y="553"/>
                </a:lnTo>
                <a:lnTo>
                  <a:pt x="365" y="548"/>
                </a:lnTo>
                <a:lnTo>
                  <a:pt x="385" y="540"/>
                </a:lnTo>
                <a:lnTo>
                  <a:pt x="404" y="531"/>
                </a:lnTo>
                <a:lnTo>
                  <a:pt x="423" y="523"/>
                </a:lnTo>
                <a:lnTo>
                  <a:pt x="440" y="511"/>
                </a:lnTo>
                <a:lnTo>
                  <a:pt x="486" y="557"/>
                </a:lnTo>
                <a:lnTo>
                  <a:pt x="486" y="557"/>
                </a:lnTo>
                <a:lnTo>
                  <a:pt x="483" y="569"/>
                </a:lnTo>
                <a:lnTo>
                  <a:pt x="481" y="582"/>
                </a:lnTo>
                <a:lnTo>
                  <a:pt x="481" y="594"/>
                </a:lnTo>
                <a:lnTo>
                  <a:pt x="483" y="608"/>
                </a:lnTo>
                <a:lnTo>
                  <a:pt x="486" y="620"/>
                </a:lnTo>
                <a:lnTo>
                  <a:pt x="491" y="632"/>
                </a:lnTo>
                <a:lnTo>
                  <a:pt x="498" y="642"/>
                </a:lnTo>
                <a:lnTo>
                  <a:pt x="506" y="654"/>
                </a:lnTo>
                <a:lnTo>
                  <a:pt x="645" y="792"/>
                </a:lnTo>
                <a:lnTo>
                  <a:pt x="645" y="792"/>
                </a:lnTo>
                <a:lnTo>
                  <a:pt x="658" y="803"/>
                </a:lnTo>
                <a:lnTo>
                  <a:pt x="675" y="811"/>
                </a:lnTo>
                <a:lnTo>
                  <a:pt x="691" y="816"/>
                </a:lnTo>
                <a:lnTo>
                  <a:pt x="708" y="818"/>
                </a:lnTo>
                <a:lnTo>
                  <a:pt x="726" y="816"/>
                </a:lnTo>
                <a:lnTo>
                  <a:pt x="742" y="811"/>
                </a:lnTo>
                <a:lnTo>
                  <a:pt x="759" y="803"/>
                </a:lnTo>
                <a:lnTo>
                  <a:pt x="772" y="792"/>
                </a:lnTo>
                <a:lnTo>
                  <a:pt x="772" y="792"/>
                </a:lnTo>
                <a:lnTo>
                  <a:pt x="772" y="792"/>
                </a:lnTo>
                <a:lnTo>
                  <a:pt x="784" y="777"/>
                </a:lnTo>
                <a:lnTo>
                  <a:pt x="791" y="762"/>
                </a:lnTo>
                <a:lnTo>
                  <a:pt x="796" y="745"/>
                </a:lnTo>
                <a:lnTo>
                  <a:pt x="798" y="727"/>
                </a:lnTo>
                <a:lnTo>
                  <a:pt x="796" y="710"/>
                </a:lnTo>
                <a:lnTo>
                  <a:pt x="791" y="693"/>
                </a:lnTo>
                <a:lnTo>
                  <a:pt x="784" y="678"/>
                </a:lnTo>
                <a:lnTo>
                  <a:pt x="772" y="664"/>
                </a:lnTo>
                <a:lnTo>
                  <a:pt x="772" y="664"/>
                </a:lnTo>
                <a:close/>
                <a:moveTo>
                  <a:pt x="426" y="427"/>
                </a:moveTo>
                <a:lnTo>
                  <a:pt x="426" y="427"/>
                </a:lnTo>
                <a:lnTo>
                  <a:pt x="411" y="441"/>
                </a:lnTo>
                <a:lnTo>
                  <a:pt x="396" y="453"/>
                </a:lnTo>
                <a:lnTo>
                  <a:pt x="379" y="463"/>
                </a:lnTo>
                <a:lnTo>
                  <a:pt x="360" y="471"/>
                </a:lnTo>
                <a:lnTo>
                  <a:pt x="341" y="478"/>
                </a:lnTo>
                <a:lnTo>
                  <a:pt x="321" y="483"/>
                </a:lnTo>
                <a:lnTo>
                  <a:pt x="300" y="487"/>
                </a:lnTo>
                <a:lnTo>
                  <a:pt x="280" y="488"/>
                </a:lnTo>
                <a:lnTo>
                  <a:pt x="280" y="488"/>
                </a:lnTo>
                <a:lnTo>
                  <a:pt x="257" y="487"/>
                </a:lnTo>
                <a:lnTo>
                  <a:pt x="237" y="483"/>
                </a:lnTo>
                <a:lnTo>
                  <a:pt x="218" y="478"/>
                </a:lnTo>
                <a:lnTo>
                  <a:pt x="200" y="471"/>
                </a:lnTo>
                <a:lnTo>
                  <a:pt x="181" y="463"/>
                </a:lnTo>
                <a:lnTo>
                  <a:pt x="164" y="453"/>
                </a:lnTo>
                <a:lnTo>
                  <a:pt x="148" y="441"/>
                </a:lnTo>
                <a:lnTo>
                  <a:pt x="133" y="427"/>
                </a:lnTo>
                <a:lnTo>
                  <a:pt x="133" y="427"/>
                </a:lnTo>
                <a:lnTo>
                  <a:pt x="119" y="413"/>
                </a:lnTo>
                <a:lnTo>
                  <a:pt x="107" y="396"/>
                </a:lnTo>
                <a:lnTo>
                  <a:pt x="97" y="379"/>
                </a:lnTo>
                <a:lnTo>
                  <a:pt x="89" y="362"/>
                </a:lnTo>
                <a:lnTo>
                  <a:pt x="82" y="342"/>
                </a:lnTo>
                <a:lnTo>
                  <a:pt x="77" y="323"/>
                </a:lnTo>
                <a:lnTo>
                  <a:pt x="73" y="302"/>
                </a:lnTo>
                <a:lnTo>
                  <a:pt x="72" y="280"/>
                </a:lnTo>
                <a:lnTo>
                  <a:pt x="72" y="280"/>
                </a:lnTo>
                <a:lnTo>
                  <a:pt x="73" y="260"/>
                </a:lnTo>
                <a:lnTo>
                  <a:pt x="77" y="239"/>
                </a:lnTo>
                <a:lnTo>
                  <a:pt x="82" y="219"/>
                </a:lnTo>
                <a:lnTo>
                  <a:pt x="89" y="200"/>
                </a:lnTo>
                <a:lnTo>
                  <a:pt x="97" y="181"/>
                </a:lnTo>
                <a:lnTo>
                  <a:pt x="107" y="164"/>
                </a:lnTo>
                <a:lnTo>
                  <a:pt x="119" y="149"/>
                </a:lnTo>
                <a:lnTo>
                  <a:pt x="133" y="133"/>
                </a:lnTo>
                <a:lnTo>
                  <a:pt x="133" y="133"/>
                </a:lnTo>
                <a:lnTo>
                  <a:pt x="148" y="121"/>
                </a:lnTo>
                <a:lnTo>
                  <a:pt x="164" y="109"/>
                </a:lnTo>
                <a:lnTo>
                  <a:pt x="181" y="97"/>
                </a:lnTo>
                <a:lnTo>
                  <a:pt x="200" y="89"/>
                </a:lnTo>
                <a:lnTo>
                  <a:pt x="218" y="82"/>
                </a:lnTo>
                <a:lnTo>
                  <a:pt x="237" y="77"/>
                </a:lnTo>
                <a:lnTo>
                  <a:pt x="257" y="73"/>
                </a:lnTo>
                <a:lnTo>
                  <a:pt x="280" y="73"/>
                </a:lnTo>
                <a:lnTo>
                  <a:pt x="280" y="73"/>
                </a:lnTo>
                <a:lnTo>
                  <a:pt x="300" y="73"/>
                </a:lnTo>
                <a:lnTo>
                  <a:pt x="321" y="77"/>
                </a:lnTo>
                <a:lnTo>
                  <a:pt x="341" y="82"/>
                </a:lnTo>
                <a:lnTo>
                  <a:pt x="360" y="89"/>
                </a:lnTo>
                <a:lnTo>
                  <a:pt x="379" y="97"/>
                </a:lnTo>
                <a:lnTo>
                  <a:pt x="396" y="109"/>
                </a:lnTo>
                <a:lnTo>
                  <a:pt x="411" y="121"/>
                </a:lnTo>
                <a:lnTo>
                  <a:pt x="426" y="133"/>
                </a:lnTo>
                <a:lnTo>
                  <a:pt x="426" y="133"/>
                </a:lnTo>
                <a:lnTo>
                  <a:pt x="440" y="149"/>
                </a:lnTo>
                <a:lnTo>
                  <a:pt x="452" y="164"/>
                </a:lnTo>
                <a:lnTo>
                  <a:pt x="462" y="181"/>
                </a:lnTo>
                <a:lnTo>
                  <a:pt x="471" y="200"/>
                </a:lnTo>
                <a:lnTo>
                  <a:pt x="477" y="219"/>
                </a:lnTo>
                <a:lnTo>
                  <a:pt x="483" y="239"/>
                </a:lnTo>
                <a:lnTo>
                  <a:pt x="486" y="260"/>
                </a:lnTo>
                <a:lnTo>
                  <a:pt x="486" y="280"/>
                </a:lnTo>
                <a:lnTo>
                  <a:pt x="486" y="280"/>
                </a:lnTo>
                <a:lnTo>
                  <a:pt x="486" y="302"/>
                </a:lnTo>
                <a:lnTo>
                  <a:pt x="483" y="323"/>
                </a:lnTo>
                <a:lnTo>
                  <a:pt x="477" y="342"/>
                </a:lnTo>
                <a:lnTo>
                  <a:pt x="471" y="362"/>
                </a:lnTo>
                <a:lnTo>
                  <a:pt x="462" y="379"/>
                </a:lnTo>
                <a:lnTo>
                  <a:pt x="452" y="396"/>
                </a:lnTo>
                <a:lnTo>
                  <a:pt x="440" y="413"/>
                </a:lnTo>
                <a:lnTo>
                  <a:pt x="426" y="427"/>
                </a:lnTo>
                <a:lnTo>
                  <a:pt x="426" y="427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lIns="119150" tIns="59574" rIns="119150" bIns="59574"/>
          <a:lstStyle>
            <a:defPPr>
              <a:defRPr lang="en-US"/>
            </a:defPPr>
            <a:lvl1pPr algn="l" defTabSz="1217613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Verdana" panose="020B0604030504040204" pitchFamily="34" charset="0"/>
                <a:ea typeface="+mn-ea"/>
                <a:cs typeface="+mn-cs"/>
              </a:defRPr>
            </a:lvl1pPr>
            <a:lvl2pPr marL="608013" indent="-150813" algn="l" defTabSz="1217613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Verdana" panose="020B0604030504040204" pitchFamily="34" charset="0"/>
                <a:ea typeface="+mn-ea"/>
                <a:cs typeface="+mn-cs"/>
              </a:defRPr>
            </a:lvl2pPr>
            <a:lvl3pPr marL="1217613" indent="-303213" algn="l" defTabSz="1217613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Verdana" panose="020B0604030504040204" pitchFamily="34" charset="0"/>
                <a:ea typeface="+mn-ea"/>
                <a:cs typeface="+mn-cs"/>
              </a:defRPr>
            </a:lvl3pPr>
            <a:lvl4pPr marL="1827213" indent="-455613" algn="l" defTabSz="1217613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Verdana" panose="020B0604030504040204" pitchFamily="34" charset="0"/>
                <a:ea typeface="+mn-ea"/>
                <a:cs typeface="+mn-cs"/>
              </a:defRPr>
            </a:lvl4pPr>
            <a:lvl5pPr marL="2436813" indent="-608013" algn="l" defTabSz="1217613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Verdana" panose="020B0604030504040204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tx1"/>
                </a:solidFill>
                <a:latin typeface="Verdana" panose="020B0604030504040204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tx1"/>
                </a:solidFill>
                <a:latin typeface="Verdana" panose="020B0604030504040204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tx1"/>
                </a:solidFill>
                <a:latin typeface="Verdana" panose="020B0604030504040204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tx1"/>
                </a:solidFill>
                <a:latin typeface="Verdana" panose="020B0604030504040204" pitchFamily="34" charset="0"/>
                <a:ea typeface="+mn-ea"/>
                <a:cs typeface="+mn-cs"/>
              </a:defRPr>
            </a:lvl9pPr>
          </a:lstStyle>
          <a:p>
            <a:pPr defTabSz="1119733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403" kern="0" dirty="0">
              <a:solidFill>
                <a:srgbClr val="074290"/>
              </a:solidFill>
              <a:latin typeface="Calibri" panose="020F0502020204030204"/>
            </a:endParaRPr>
          </a:p>
        </p:txBody>
      </p:sp>
      <p:grpSp>
        <p:nvGrpSpPr>
          <p:cNvPr id="1129" name="Group 1128">
            <a:extLst>
              <a:ext uri="{FF2B5EF4-FFF2-40B4-BE49-F238E27FC236}">
                <a16:creationId xmlns:a16="http://schemas.microsoft.com/office/drawing/2014/main" id="{26BA9C65-ECB1-C655-2692-14061C65B826}"/>
              </a:ext>
            </a:extLst>
          </p:cNvPr>
          <p:cNvGrpSpPr/>
          <p:nvPr/>
        </p:nvGrpSpPr>
        <p:grpSpPr>
          <a:xfrm>
            <a:off x="2584233" y="3992576"/>
            <a:ext cx="1315990" cy="404688"/>
            <a:chOff x="2584233" y="3992576"/>
            <a:chExt cx="1315990" cy="404688"/>
          </a:xfrm>
        </p:grpSpPr>
        <p:sp>
          <p:nvSpPr>
            <p:cNvPr id="1128" name="Oval 1127">
              <a:extLst>
                <a:ext uri="{FF2B5EF4-FFF2-40B4-BE49-F238E27FC236}">
                  <a16:creationId xmlns:a16="http://schemas.microsoft.com/office/drawing/2014/main" id="{657BA8F7-C5AB-921C-D8CE-3016911391D3}"/>
                </a:ext>
              </a:extLst>
            </p:cNvPr>
            <p:cNvSpPr/>
            <p:nvPr/>
          </p:nvSpPr>
          <p:spPr>
            <a:xfrm>
              <a:off x="2590263" y="3992576"/>
              <a:ext cx="1271509" cy="404688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/>
            </a:p>
          </p:txBody>
        </p:sp>
        <p:sp>
          <p:nvSpPr>
            <p:cNvPr id="1107" name="Rectangle 1106">
              <a:extLst>
                <a:ext uri="{FF2B5EF4-FFF2-40B4-BE49-F238E27FC236}">
                  <a16:creationId xmlns:a16="http://schemas.microsoft.com/office/drawing/2014/main" id="{A9511689-FBD8-3ADA-A4CC-A2005F1AEAF8}"/>
                </a:ext>
              </a:extLst>
            </p:cNvPr>
            <p:cNvSpPr/>
            <p:nvPr/>
          </p:nvSpPr>
          <p:spPr>
            <a:xfrm>
              <a:off x="2584233" y="4015074"/>
              <a:ext cx="1289785" cy="33717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it-IT" sz="1400" b="1" dirty="0">
                  <a:solidFill>
                    <a:schemeClr val="tx1"/>
                  </a:solidFill>
                </a:rPr>
                <a:t>Safe cities</a:t>
              </a:r>
            </a:p>
          </p:txBody>
        </p:sp>
        <p:sp>
          <p:nvSpPr>
            <p:cNvPr id="1125" name="Freeform 186">
              <a:extLst>
                <a:ext uri="{FF2B5EF4-FFF2-40B4-BE49-F238E27FC236}">
                  <a16:creationId xmlns:a16="http://schemas.microsoft.com/office/drawing/2014/main" id="{6F78D68A-AC71-9ACB-69DD-B4EC46B34E62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2590263" y="3992576"/>
              <a:ext cx="1309960" cy="404688"/>
            </a:xfrm>
            <a:custGeom>
              <a:avLst/>
              <a:gdLst>
                <a:gd name="T0" fmla="*/ 418 w 744"/>
                <a:gd name="T1" fmla="*/ 210 h 230"/>
                <a:gd name="T2" fmla="*/ 572 w 744"/>
                <a:gd name="T3" fmla="*/ 200 h 230"/>
                <a:gd name="T4" fmla="*/ 678 w 744"/>
                <a:gd name="T5" fmla="*/ 178 h 230"/>
                <a:gd name="T6" fmla="*/ 711 w 744"/>
                <a:gd name="T7" fmla="*/ 161 h 230"/>
                <a:gd name="T8" fmla="*/ 716 w 744"/>
                <a:gd name="T9" fmla="*/ 135 h 230"/>
                <a:gd name="T10" fmla="*/ 713 w 744"/>
                <a:gd name="T11" fmla="*/ 130 h 230"/>
                <a:gd name="T12" fmla="*/ 715 w 744"/>
                <a:gd name="T13" fmla="*/ 111 h 230"/>
                <a:gd name="T14" fmla="*/ 732 w 744"/>
                <a:gd name="T15" fmla="*/ 115 h 230"/>
                <a:gd name="T16" fmla="*/ 739 w 744"/>
                <a:gd name="T17" fmla="*/ 153 h 230"/>
                <a:gd name="T18" fmla="*/ 713 w 744"/>
                <a:gd name="T19" fmla="*/ 181 h 230"/>
                <a:gd name="T20" fmla="*/ 654 w 744"/>
                <a:gd name="T21" fmla="*/ 205 h 230"/>
                <a:gd name="T22" fmla="*/ 516 w 744"/>
                <a:gd name="T23" fmla="*/ 225 h 230"/>
                <a:gd name="T24" fmla="*/ 357 w 744"/>
                <a:gd name="T25" fmla="*/ 229 h 230"/>
                <a:gd name="T26" fmla="*/ 92 w 744"/>
                <a:gd name="T27" fmla="*/ 200 h 230"/>
                <a:gd name="T28" fmla="*/ 47 w 744"/>
                <a:gd name="T29" fmla="*/ 185 h 230"/>
                <a:gd name="T30" fmla="*/ 17 w 744"/>
                <a:gd name="T31" fmla="*/ 163 h 230"/>
                <a:gd name="T32" fmla="*/ 5 w 744"/>
                <a:gd name="T33" fmla="*/ 111 h 230"/>
                <a:gd name="T34" fmla="*/ 50 w 744"/>
                <a:gd name="T35" fmla="*/ 56 h 230"/>
                <a:gd name="T36" fmla="*/ 142 w 744"/>
                <a:gd name="T37" fmla="*/ 25 h 230"/>
                <a:gd name="T38" fmla="*/ 414 w 744"/>
                <a:gd name="T39" fmla="*/ 3 h 230"/>
                <a:gd name="T40" fmla="*/ 593 w 744"/>
                <a:gd name="T41" fmla="*/ 29 h 230"/>
                <a:gd name="T42" fmla="*/ 671 w 744"/>
                <a:gd name="T43" fmla="*/ 58 h 230"/>
                <a:gd name="T44" fmla="*/ 697 w 744"/>
                <a:gd name="T45" fmla="*/ 79 h 230"/>
                <a:gd name="T46" fmla="*/ 701 w 744"/>
                <a:gd name="T47" fmla="*/ 93 h 230"/>
                <a:gd name="T48" fmla="*/ 693 w 744"/>
                <a:gd name="T49" fmla="*/ 102 h 230"/>
                <a:gd name="T50" fmla="*/ 684 w 744"/>
                <a:gd name="T51" fmla="*/ 97 h 230"/>
                <a:gd name="T52" fmla="*/ 654 w 744"/>
                <a:gd name="T53" fmla="*/ 72 h 230"/>
                <a:gd name="T54" fmla="*/ 505 w 744"/>
                <a:gd name="T55" fmla="*/ 31 h 230"/>
                <a:gd name="T56" fmla="*/ 296 w 744"/>
                <a:gd name="T57" fmla="*/ 22 h 230"/>
                <a:gd name="T58" fmla="*/ 76 w 744"/>
                <a:gd name="T59" fmla="*/ 64 h 230"/>
                <a:gd name="T60" fmla="*/ 45 w 744"/>
                <a:gd name="T61" fmla="*/ 78 h 230"/>
                <a:gd name="T62" fmla="*/ 21 w 744"/>
                <a:gd name="T63" fmla="*/ 107 h 230"/>
                <a:gd name="T64" fmla="*/ 29 w 744"/>
                <a:gd name="T65" fmla="*/ 146 h 230"/>
                <a:gd name="T66" fmla="*/ 67 w 744"/>
                <a:gd name="T67" fmla="*/ 170 h 230"/>
                <a:gd name="T68" fmla="*/ 141 w 744"/>
                <a:gd name="T69" fmla="*/ 188 h 230"/>
                <a:gd name="T70" fmla="*/ 418 w 744"/>
                <a:gd name="T71" fmla="*/ 210 h 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744" h="230">
                  <a:moveTo>
                    <a:pt x="418" y="210"/>
                  </a:moveTo>
                  <a:cubicBezTo>
                    <a:pt x="469" y="207"/>
                    <a:pt x="520" y="204"/>
                    <a:pt x="572" y="200"/>
                  </a:cubicBezTo>
                  <a:cubicBezTo>
                    <a:pt x="608" y="197"/>
                    <a:pt x="643" y="190"/>
                    <a:pt x="678" y="178"/>
                  </a:cubicBezTo>
                  <a:cubicBezTo>
                    <a:pt x="689" y="174"/>
                    <a:pt x="701" y="168"/>
                    <a:pt x="711" y="161"/>
                  </a:cubicBezTo>
                  <a:cubicBezTo>
                    <a:pt x="722" y="153"/>
                    <a:pt x="723" y="147"/>
                    <a:pt x="716" y="135"/>
                  </a:cubicBezTo>
                  <a:cubicBezTo>
                    <a:pt x="715" y="133"/>
                    <a:pt x="713" y="131"/>
                    <a:pt x="713" y="130"/>
                  </a:cubicBezTo>
                  <a:cubicBezTo>
                    <a:pt x="708" y="122"/>
                    <a:pt x="709" y="115"/>
                    <a:pt x="715" y="111"/>
                  </a:cubicBezTo>
                  <a:cubicBezTo>
                    <a:pt x="721" y="106"/>
                    <a:pt x="727" y="111"/>
                    <a:pt x="732" y="115"/>
                  </a:cubicBezTo>
                  <a:cubicBezTo>
                    <a:pt x="741" y="123"/>
                    <a:pt x="744" y="141"/>
                    <a:pt x="739" y="153"/>
                  </a:cubicBezTo>
                  <a:cubicBezTo>
                    <a:pt x="733" y="165"/>
                    <a:pt x="724" y="174"/>
                    <a:pt x="713" y="181"/>
                  </a:cubicBezTo>
                  <a:cubicBezTo>
                    <a:pt x="695" y="194"/>
                    <a:pt x="675" y="200"/>
                    <a:pt x="654" y="205"/>
                  </a:cubicBezTo>
                  <a:cubicBezTo>
                    <a:pt x="609" y="216"/>
                    <a:pt x="563" y="223"/>
                    <a:pt x="516" y="225"/>
                  </a:cubicBezTo>
                  <a:cubicBezTo>
                    <a:pt x="463" y="227"/>
                    <a:pt x="410" y="229"/>
                    <a:pt x="357" y="229"/>
                  </a:cubicBezTo>
                  <a:cubicBezTo>
                    <a:pt x="267" y="230"/>
                    <a:pt x="179" y="221"/>
                    <a:pt x="92" y="200"/>
                  </a:cubicBezTo>
                  <a:cubicBezTo>
                    <a:pt x="77" y="197"/>
                    <a:pt x="62" y="192"/>
                    <a:pt x="47" y="185"/>
                  </a:cubicBezTo>
                  <a:cubicBezTo>
                    <a:pt x="36" y="180"/>
                    <a:pt x="26" y="172"/>
                    <a:pt x="17" y="163"/>
                  </a:cubicBezTo>
                  <a:cubicBezTo>
                    <a:pt x="4" y="148"/>
                    <a:pt x="0" y="130"/>
                    <a:pt x="5" y="111"/>
                  </a:cubicBezTo>
                  <a:cubicBezTo>
                    <a:pt x="11" y="85"/>
                    <a:pt x="26" y="67"/>
                    <a:pt x="50" y="56"/>
                  </a:cubicBezTo>
                  <a:cubicBezTo>
                    <a:pt x="80" y="42"/>
                    <a:pt x="111" y="33"/>
                    <a:pt x="142" y="25"/>
                  </a:cubicBezTo>
                  <a:cubicBezTo>
                    <a:pt x="232" y="3"/>
                    <a:pt x="323" y="0"/>
                    <a:pt x="414" y="3"/>
                  </a:cubicBezTo>
                  <a:cubicBezTo>
                    <a:pt x="475" y="5"/>
                    <a:pt x="535" y="13"/>
                    <a:pt x="593" y="29"/>
                  </a:cubicBezTo>
                  <a:cubicBezTo>
                    <a:pt x="620" y="37"/>
                    <a:pt x="645" y="47"/>
                    <a:pt x="671" y="58"/>
                  </a:cubicBezTo>
                  <a:cubicBezTo>
                    <a:pt x="682" y="62"/>
                    <a:pt x="692" y="69"/>
                    <a:pt x="697" y="79"/>
                  </a:cubicBezTo>
                  <a:cubicBezTo>
                    <a:pt x="700" y="83"/>
                    <a:pt x="702" y="89"/>
                    <a:pt x="701" y="93"/>
                  </a:cubicBezTo>
                  <a:cubicBezTo>
                    <a:pt x="701" y="97"/>
                    <a:pt x="697" y="101"/>
                    <a:pt x="693" y="102"/>
                  </a:cubicBezTo>
                  <a:cubicBezTo>
                    <a:pt x="691" y="103"/>
                    <a:pt x="686" y="100"/>
                    <a:pt x="684" y="97"/>
                  </a:cubicBezTo>
                  <a:cubicBezTo>
                    <a:pt x="678" y="84"/>
                    <a:pt x="667" y="78"/>
                    <a:pt x="654" y="72"/>
                  </a:cubicBezTo>
                  <a:cubicBezTo>
                    <a:pt x="607" y="50"/>
                    <a:pt x="556" y="38"/>
                    <a:pt x="505" y="31"/>
                  </a:cubicBezTo>
                  <a:cubicBezTo>
                    <a:pt x="435" y="21"/>
                    <a:pt x="366" y="18"/>
                    <a:pt x="296" y="22"/>
                  </a:cubicBezTo>
                  <a:cubicBezTo>
                    <a:pt x="221" y="26"/>
                    <a:pt x="147" y="37"/>
                    <a:pt x="76" y="64"/>
                  </a:cubicBezTo>
                  <a:cubicBezTo>
                    <a:pt x="65" y="68"/>
                    <a:pt x="55" y="73"/>
                    <a:pt x="45" y="78"/>
                  </a:cubicBezTo>
                  <a:cubicBezTo>
                    <a:pt x="33" y="84"/>
                    <a:pt x="26" y="94"/>
                    <a:pt x="21" y="107"/>
                  </a:cubicBezTo>
                  <a:cubicBezTo>
                    <a:pt x="16" y="122"/>
                    <a:pt x="19" y="134"/>
                    <a:pt x="29" y="146"/>
                  </a:cubicBezTo>
                  <a:cubicBezTo>
                    <a:pt x="39" y="158"/>
                    <a:pt x="52" y="166"/>
                    <a:pt x="67" y="170"/>
                  </a:cubicBezTo>
                  <a:cubicBezTo>
                    <a:pt x="91" y="177"/>
                    <a:pt x="116" y="183"/>
                    <a:pt x="141" y="188"/>
                  </a:cubicBezTo>
                  <a:cubicBezTo>
                    <a:pt x="232" y="206"/>
                    <a:pt x="325" y="210"/>
                    <a:pt x="418" y="21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sp>
        <p:nvSpPr>
          <p:cNvPr id="1106" name="Rectangle 1105">
            <a:extLst>
              <a:ext uri="{FF2B5EF4-FFF2-40B4-BE49-F238E27FC236}">
                <a16:creationId xmlns:a16="http://schemas.microsoft.com/office/drawing/2014/main" id="{541BB9D7-A0E4-1F08-1FD8-03E76A2DC145}"/>
              </a:ext>
            </a:extLst>
          </p:cNvPr>
          <p:cNvSpPr/>
          <p:nvPr/>
        </p:nvSpPr>
        <p:spPr>
          <a:xfrm>
            <a:off x="765358" y="4020025"/>
            <a:ext cx="1289785" cy="3371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400" b="1" dirty="0">
                <a:solidFill>
                  <a:schemeClr val="tx1"/>
                </a:solidFill>
              </a:rPr>
              <a:t>Green box</a:t>
            </a:r>
          </a:p>
        </p:txBody>
      </p:sp>
      <p:sp>
        <p:nvSpPr>
          <p:cNvPr id="1135" name="Freeform 177">
            <a:extLst>
              <a:ext uri="{FF2B5EF4-FFF2-40B4-BE49-F238E27FC236}">
                <a16:creationId xmlns:a16="http://schemas.microsoft.com/office/drawing/2014/main" id="{8F349A68-FA51-1090-9821-3AADC589753E}"/>
              </a:ext>
            </a:extLst>
          </p:cNvPr>
          <p:cNvSpPr>
            <a:spLocks noChangeAspect="1"/>
          </p:cNvSpPr>
          <p:nvPr/>
        </p:nvSpPr>
        <p:spPr bwMode="auto">
          <a:xfrm rot="11469646">
            <a:off x="3084415" y="604608"/>
            <a:ext cx="614232" cy="475070"/>
          </a:xfrm>
          <a:custGeom>
            <a:avLst/>
            <a:gdLst>
              <a:gd name="T0" fmla="*/ 358 w 384"/>
              <a:gd name="T1" fmla="*/ 1 h 297"/>
              <a:gd name="T2" fmla="*/ 360 w 384"/>
              <a:gd name="T3" fmla="*/ 10 h 297"/>
              <a:gd name="T4" fmla="*/ 371 w 384"/>
              <a:gd name="T5" fmla="*/ 58 h 297"/>
              <a:gd name="T6" fmla="*/ 384 w 384"/>
              <a:gd name="T7" fmla="*/ 100 h 297"/>
              <a:gd name="T8" fmla="*/ 376 w 384"/>
              <a:gd name="T9" fmla="*/ 106 h 297"/>
              <a:gd name="T10" fmla="*/ 367 w 384"/>
              <a:gd name="T11" fmla="*/ 96 h 297"/>
              <a:gd name="T12" fmla="*/ 365 w 384"/>
              <a:gd name="T13" fmla="*/ 81 h 297"/>
              <a:gd name="T14" fmla="*/ 351 w 384"/>
              <a:gd name="T15" fmla="*/ 40 h 297"/>
              <a:gd name="T16" fmla="*/ 346 w 384"/>
              <a:gd name="T17" fmla="*/ 47 h 297"/>
              <a:gd name="T18" fmla="*/ 312 w 384"/>
              <a:gd name="T19" fmla="*/ 111 h 297"/>
              <a:gd name="T20" fmla="*/ 302 w 384"/>
              <a:gd name="T21" fmla="*/ 126 h 297"/>
              <a:gd name="T22" fmla="*/ 279 w 384"/>
              <a:gd name="T23" fmla="*/ 155 h 297"/>
              <a:gd name="T24" fmla="*/ 262 w 384"/>
              <a:gd name="T25" fmla="*/ 174 h 297"/>
              <a:gd name="T26" fmla="*/ 245 w 384"/>
              <a:gd name="T27" fmla="*/ 190 h 297"/>
              <a:gd name="T28" fmla="*/ 229 w 384"/>
              <a:gd name="T29" fmla="*/ 204 h 297"/>
              <a:gd name="T30" fmla="*/ 188 w 384"/>
              <a:gd name="T31" fmla="*/ 235 h 297"/>
              <a:gd name="T32" fmla="*/ 156 w 384"/>
              <a:gd name="T33" fmla="*/ 254 h 297"/>
              <a:gd name="T34" fmla="*/ 116 w 384"/>
              <a:gd name="T35" fmla="*/ 274 h 297"/>
              <a:gd name="T36" fmla="*/ 29 w 384"/>
              <a:gd name="T37" fmla="*/ 297 h 297"/>
              <a:gd name="T38" fmla="*/ 1 w 384"/>
              <a:gd name="T39" fmla="*/ 289 h 297"/>
              <a:gd name="T40" fmla="*/ 1 w 384"/>
              <a:gd name="T41" fmla="*/ 285 h 297"/>
              <a:gd name="T42" fmla="*/ 9 w 384"/>
              <a:gd name="T43" fmla="*/ 282 h 297"/>
              <a:gd name="T44" fmla="*/ 15 w 384"/>
              <a:gd name="T45" fmla="*/ 283 h 297"/>
              <a:gd name="T46" fmla="*/ 57 w 384"/>
              <a:gd name="T47" fmla="*/ 282 h 297"/>
              <a:gd name="T48" fmla="*/ 101 w 384"/>
              <a:gd name="T49" fmla="*/ 267 h 297"/>
              <a:gd name="T50" fmla="*/ 122 w 384"/>
              <a:gd name="T51" fmla="*/ 258 h 297"/>
              <a:gd name="T52" fmla="*/ 137 w 384"/>
              <a:gd name="T53" fmla="*/ 250 h 297"/>
              <a:gd name="T54" fmla="*/ 151 w 384"/>
              <a:gd name="T55" fmla="*/ 242 h 297"/>
              <a:gd name="T56" fmla="*/ 166 w 384"/>
              <a:gd name="T57" fmla="*/ 233 h 297"/>
              <a:gd name="T58" fmla="*/ 188 w 384"/>
              <a:gd name="T59" fmla="*/ 219 h 297"/>
              <a:gd name="T60" fmla="*/ 202 w 384"/>
              <a:gd name="T61" fmla="*/ 210 h 297"/>
              <a:gd name="T62" fmla="*/ 212 w 384"/>
              <a:gd name="T63" fmla="*/ 200 h 297"/>
              <a:gd name="T64" fmla="*/ 223 w 384"/>
              <a:gd name="T65" fmla="*/ 191 h 297"/>
              <a:gd name="T66" fmla="*/ 237 w 384"/>
              <a:gd name="T67" fmla="*/ 179 h 297"/>
              <a:gd name="T68" fmla="*/ 250 w 384"/>
              <a:gd name="T69" fmla="*/ 166 h 297"/>
              <a:gd name="T70" fmla="*/ 265 w 384"/>
              <a:gd name="T71" fmla="*/ 151 h 297"/>
              <a:gd name="T72" fmla="*/ 279 w 384"/>
              <a:gd name="T73" fmla="*/ 133 h 297"/>
              <a:gd name="T74" fmla="*/ 297 w 384"/>
              <a:gd name="T75" fmla="*/ 107 h 297"/>
              <a:gd name="T76" fmla="*/ 311 w 384"/>
              <a:gd name="T77" fmla="*/ 83 h 297"/>
              <a:gd name="T78" fmla="*/ 330 w 384"/>
              <a:gd name="T79" fmla="*/ 46 h 297"/>
              <a:gd name="T80" fmla="*/ 336 w 384"/>
              <a:gd name="T81" fmla="*/ 29 h 297"/>
              <a:gd name="T82" fmla="*/ 334 w 384"/>
              <a:gd name="T83" fmla="*/ 28 h 297"/>
              <a:gd name="T84" fmla="*/ 299 w 384"/>
              <a:gd name="T85" fmla="*/ 49 h 297"/>
              <a:gd name="T86" fmla="*/ 262 w 384"/>
              <a:gd name="T87" fmla="*/ 70 h 297"/>
              <a:gd name="T88" fmla="*/ 252 w 384"/>
              <a:gd name="T89" fmla="*/ 71 h 297"/>
              <a:gd name="T90" fmla="*/ 249 w 384"/>
              <a:gd name="T91" fmla="*/ 61 h 297"/>
              <a:gd name="T92" fmla="*/ 267 w 384"/>
              <a:gd name="T93" fmla="*/ 52 h 297"/>
              <a:gd name="T94" fmla="*/ 288 w 384"/>
              <a:gd name="T95" fmla="*/ 42 h 297"/>
              <a:gd name="T96" fmla="*/ 331 w 384"/>
              <a:gd name="T97" fmla="*/ 15 h 297"/>
              <a:gd name="T98" fmla="*/ 340 w 384"/>
              <a:gd name="T99" fmla="*/ 6 h 297"/>
              <a:gd name="T100" fmla="*/ 352 w 384"/>
              <a:gd name="T101" fmla="*/ 0 h 2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384" h="297">
                <a:moveTo>
                  <a:pt x="355" y="1"/>
                </a:moveTo>
                <a:cubicBezTo>
                  <a:pt x="355" y="1"/>
                  <a:pt x="357" y="1"/>
                  <a:pt x="358" y="1"/>
                </a:cubicBezTo>
                <a:cubicBezTo>
                  <a:pt x="360" y="2"/>
                  <a:pt x="362" y="5"/>
                  <a:pt x="361" y="7"/>
                </a:cubicBezTo>
                <a:cubicBezTo>
                  <a:pt x="361" y="8"/>
                  <a:pt x="360" y="9"/>
                  <a:pt x="360" y="10"/>
                </a:cubicBezTo>
                <a:cubicBezTo>
                  <a:pt x="360" y="12"/>
                  <a:pt x="359" y="13"/>
                  <a:pt x="360" y="15"/>
                </a:cubicBezTo>
                <a:cubicBezTo>
                  <a:pt x="362" y="30"/>
                  <a:pt x="366" y="44"/>
                  <a:pt x="371" y="58"/>
                </a:cubicBezTo>
                <a:cubicBezTo>
                  <a:pt x="372" y="61"/>
                  <a:pt x="374" y="65"/>
                  <a:pt x="375" y="69"/>
                </a:cubicBezTo>
                <a:cubicBezTo>
                  <a:pt x="379" y="79"/>
                  <a:pt x="381" y="89"/>
                  <a:pt x="384" y="100"/>
                </a:cubicBezTo>
                <a:cubicBezTo>
                  <a:pt x="384" y="101"/>
                  <a:pt x="384" y="102"/>
                  <a:pt x="383" y="103"/>
                </a:cubicBezTo>
                <a:cubicBezTo>
                  <a:pt x="382" y="106"/>
                  <a:pt x="379" y="107"/>
                  <a:pt x="376" y="106"/>
                </a:cubicBezTo>
                <a:cubicBezTo>
                  <a:pt x="373" y="104"/>
                  <a:pt x="370" y="102"/>
                  <a:pt x="368" y="99"/>
                </a:cubicBezTo>
                <a:cubicBezTo>
                  <a:pt x="368" y="98"/>
                  <a:pt x="367" y="97"/>
                  <a:pt x="367" y="96"/>
                </a:cubicBezTo>
                <a:cubicBezTo>
                  <a:pt x="367" y="94"/>
                  <a:pt x="366" y="93"/>
                  <a:pt x="366" y="91"/>
                </a:cubicBezTo>
                <a:cubicBezTo>
                  <a:pt x="366" y="88"/>
                  <a:pt x="366" y="84"/>
                  <a:pt x="365" y="81"/>
                </a:cubicBezTo>
                <a:cubicBezTo>
                  <a:pt x="361" y="68"/>
                  <a:pt x="357" y="55"/>
                  <a:pt x="353" y="42"/>
                </a:cubicBezTo>
                <a:cubicBezTo>
                  <a:pt x="352" y="41"/>
                  <a:pt x="352" y="41"/>
                  <a:pt x="351" y="40"/>
                </a:cubicBezTo>
                <a:cubicBezTo>
                  <a:pt x="350" y="40"/>
                  <a:pt x="349" y="40"/>
                  <a:pt x="348" y="42"/>
                </a:cubicBezTo>
                <a:cubicBezTo>
                  <a:pt x="348" y="44"/>
                  <a:pt x="347" y="45"/>
                  <a:pt x="346" y="47"/>
                </a:cubicBezTo>
                <a:cubicBezTo>
                  <a:pt x="341" y="57"/>
                  <a:pt x="337" y="67"/>
                  <a:pt x="332" y="76"/>
                </a:cubicBezTo>
                <a:cubicBezTo>
                  <a:pt x="326" y="88"/>
                  <a:pt x="320" y="100"/>
                  <a:pt x="312" y="111"/>
                </a:cubicBezTo>
                <a:cubicBezTo>
                  <a:pt x="310" y="114"/>
                  <a:pt x="309" y="117"/>
                  <a:pt x="307" y="119"/>
                </a:cubicBezTo>
                <a:cubicBezTo>
                  <a:pt x="305" y="122"/>
                  <a:pt x="304" y="124"/>
                  <a:pt x="302" y="126"/>
                </a:cubicBezTo>
                <a:cubicBezTo>
                  <a:pt x="301" y="126"/>
                  <a:pt x="301" y="127"/>
                  <a:pt x="300" y="128"/>
                </a:cubicBezTo>
                <a:cubicBezTo>
                  <a:pt x="295" y="138"/>
                  <a:pt x="287" y="146"/>
                  <a:pt x="279" y="155"/>
                </a:cubicBezTo>
                <a:cubicBezTo>
                  <a:pt x="275" y="160"/>
                  <a:pt x="270" y="165"/>
                  <a:pt x="266" y="170"/>
                </a:cubicBezTo>
                <a:cubicBezTo>
                  <a:pt x="264" y="171"/>
                  <a:pt x="263" y="173"/>
                  <a:pt x="262" y="174"/>
                </a:cubicBezTo>
                <a:cubicBezTo>
                  <a:pt x="259" y="177"/>
                  <a:pt x="256" y="179"/>
                  <a:pt x="253" y="183"/>
                </a:cubicBezTo>
                <a:cubicBezTo>
                  <a:pt x="251" y="185"/>
                  <a:pt x="248" y="188"/>
                  <a:pt x="245" y="190"/>
                </a:cubicBezTo>
                <a:cubicBezTo>
                  <a:pt x="241" y="194"/>
                  <a:pt x="238" y="198"/>
                  <a:pt x="233" y="201"/>
                </a:cubicBezTo>
                <a:cubicBezTo>
                  <a:pt x="232" y="202"/>
                  <a:pt x="230" y="203"/>
                  <a:pt x="229" y="204"/>
                </a:cubicBezTo>
                <a:cubicBezTo>
                  <a:pt x="219" y="213"/>
                  <a:pt x="209" y="220"/>
                  <a:pt x="198" y="228"/>
                </a:cubicBezTo>
                <a:cubicBezTo>
                  <a:pt x="195" y="230"/>
                  <a:pt x="191" y="232"/>
                  <a:pt x="188" y="235"/>
                </a:cubicBezTo>
                <a:cubicBezTo>
                  <a:pt x="183" y="238"/>
                  <a:pt x="178" y="242"/>
                  <a:pt x="172" y="245"/>
                </a:cubicBezTo>
                <a:cubicBezTo>
                  <a:pt x="167" y="248"/>
                  <a:pt x="161" y="252"/>
                  <a:pt x="156" y="254"/>
                </a:cubicBezTo>
                <a:cubicBezTo>
                  <a:pt x="153" y="255"/>
                  <a:pt x="151" y="257"/>
                  <a:pt x="148" y="258"/>
                </a:cubicBezTo>
                <a:cubicBezTo>
                  <a:pt x="138" y="264"/>
                  <a:pt x="127" y="269"/>
                  <a:pt x="116" y="274"/>
                </a:cubicBezTo>
                <a:cubicBezTo>
                  <a:pt x="90" y="286"/>
                  <a:pt x="62" y="294"/>
                  <a:pt x="33" y="296"/>
                </a:cubicBezTo>
                <a:cubicBezTo>
                  <a:pt x="32" y="296"/>
                  <a:pt x="30" y="297"/>
                  <a:pt x="29" y="297"/>
                </a:cubicBezTo>
                <a:cubicBezTo>
                  <a:pt x="24" y="296"/>
                  <a:pt x="19" y="297"/>
                  <a:pt x="14" y="297"/>
                </a:cubicBezTo>
                <a:cubicBezTo>
                  <a:pt x="8" y="297"/>
                  <a:pt x="4" y="294"/>
                  <a:pt x="1" y="289"/>
                </a:cubicBezTo>
                <a:cubicBezTo>
                  <a:pt x="1" y="289"/>
                  <a:pt x="1" y="288"/>
                  <a:pt x="1" y="288"/>
                </a:cubicBezTo>
                <a:cubicBezTo>
                  <a:pt x="0" y="287"/>
                  <a:pt x="0" y="286"/>
                  <a:pt x="1" y="285"/>
                </a:cubicBezTo>
                <a:cubicBezTo>
                  <a:pt x="1" y="284"/>
                  <a:pt x="2" y="283"/>
                  <a:pt x="3" y="283"/>
                </a:cubicBezTo>
                <a:cubicBezTo>
                  <a:pt x="5" y="282"/>
                  <a:pt x="7" y="282"/>
                  <a:pt x="9" y="282"/>
                </a:cubicBezTo>
                <a:cubicBezTo>
                  <a:pt x="11" y="281"/>
                  <a:pt x="13" y="282"/>
                  <a:pt x="14" y="282"/>
                </a:cubicBezTo>
                <a:cubicBezTo>
                  <a:pt x="15" y="282"/>
                  <a:pt x="15" y="282"/>
                  <a:pt x="15" y="283"/>
                </a:cubicBezTo>
                <a:cubicBezTo>
                  <a:pt x="20" y="286"/>
                  <a:pt x="26" y="286"/>
                  <a:pt x="31" y="285"/>
                </a:cubicBezTo>
                <a:cubicBezTo>
                  <a:pt x="40" y="284"/>
                  <a:pt x="49" y="283"/>
                  <a:pt x="57" y="282"/>
                </a:cubicBezTo>
                <a:cubicBezTo>
                  <a:pt x="62" y="281"/>
                  <a:pt x="67" y="279"/>
                  <a:pt x="72" y="278"/>
                </a:cubicBezTo>
                <a:cubicBezTo>
                  <a:pt x="82" y="275"/>
                  <a:pt x="92" y="272"/>
                  <a:pt x="101" y="267"/>
                </a:cubicBezTo>
                <a:cubicBezTo>
                  <a:pt x="104" y="266"/>
                  <a:pt x="107" y="265"/>
                  <a:pt x="110" y="264"/>
                </a:cubicBezTo>
                <a:cubicBezTo>
                  <a:pt x="114" y="263"/>
                  <a:pt x="118" y="261"/>
                  <a:pt x="122" y="258"/>
                </a:cubicBezTo>
                <a:cubicBezTo>
                  <a:pt x="124" y="257"/>
                  <a:pt x="127" y="255"/>
                  <a:pt x="129" y="255"/>
                </a:cubicBezTo>
                <a:cubicBezTo>
                  <a:pt x="132" y="253"/>
                  <a:pt x="135" y="252"/>
                  <a:pt x="137" y="250"/>
                </a:cubicBezTo>
                <a:cubicBezTo>
                  <a:pt x="139" y="248"/>
                  <a:pt x="141" y="248"/>
                  <a:pt x="142" y="247"/>
                </a:cubicBezTo>
                <a:cubicBezTo>
                  <a:pt x="145" y="245"/>
                  <a:pt x="148" y="244"/>
                  <a:pt x="151" y="242"/>
                </a:cubicBezTo>
                <a:cubicBezTo>
                  <a:pt x="155" y="240"/>
                  <a:pt x="159" y="239"/>
                  <a:pt x="162" y="236"/>
                </a:cubicBezTo>
                <a:cubicBezTo>
                  <a:pt x="163" y="235"/>
                  <a:pt x="165" y="234"/>
                  <a:pt x="166" y="233"/>
                </a:cubicBezTo>
                <a:cubicBezTo>
                  <a:pt x="172" y="231"/>
                  <a:pt x="177" y="227"/>
                  <a:pt x="182" y="223"/>
                </a:cubicBezTo>
                <a:cubicBezTo>
                  <a:pt x="184" y="222"/>
                  <a:pt x="186" y="220"/>
                  <a:pt x="188" y="219"/>
                </a:cubicBezTo>
                <a:cubicBezTo>
                  <a:pt x="190" y="217"/>
                  <a:pt x="193" y="215"/>
                  <a:pt x="196" y="214"/>
                </a:cubicBezTo>
                <a:cubicBezTo>
                  <a:pt x="198" y="213"/>
                  <a:pt x="200" y="212"/>
                  <a:pt x="202" y="210"/>
                </a:cubicBezTo>
                <a:cubicBezTo>
                  <a:pt x="204" y="208"/>
                  <a:pt x="205" y="207"/>
                  <a:pt x="207" y="205"/>
                </a:cubicBezTo>
                <a:cubicBezTo>
                  <a:pt x="209" y="204"/>
                  <a:pt x="211" y="202"/>
                  <a:pt x="212" y="200"/>
                </a:cubicBezTo>
                <a:cubicBezTo>
                  <a:pt x="213" y="199"/>
                  <a:pt x="214" y="198"/>
                  <a:pt x="215" y="197"/>
                </a:cubicBezTo>
                <a:cubicBezTo>
                  <a:pt x="218" y="195"/>
                  <a:pt x="221" y="193"/>
                  <a:pt x="223" y="191"/>
                </a:cubicBezTo>
                <a:cubicBezTo>
                  <a:pt x="225" y="189"/>
                  <a:pt x="227" y="187"/>
                  <a:pt x="229" y="186"/>
                </a:cubicBezTo>
                <a:cubicBezTo>
                  <a:pt x="232" y="184"/>
                  <a:pt x="235" y="181"/>
                  <a:pt x="237" y="179"/>
                </a:cubicBezTo>
                <a:cubicBezTo>
                  <a:pt x="239" y="176"/>
                  <a:pt x="241" y="174"/>
                  <a:pt x="243" y="173"/>
                </a:cubicBezTo>
                <a:cubicBezTo>
                  <a:pt x="245" y="171"/>
                  <a:pt x="248" y="168"/>
                  <a:pt x="250" y="166"/>
                </a:cubicBezTo>
                <a:cubicBezTo>
                  <a:pt x="252" y="165"/>
                  <a:pt x="254" y="163"/>
                  <a:pt x="255" y="161"/>
                </a:cubicBezTo>
                <a:cubicBezTo>
                  <a:pt x="258" y="158"/>
                  <a:pt x="261" y="154"/>
                  <a:pt x="265" y="151"/>
                </a:cubicBezTo>
                <a:cubicBezTo>
                  <a:pt x="267" y="147"/>
                  <a:pt x="269" y="144"/>
                  <a:pt x="272" y="141"/>
                </a:cubicBezTo>
                <a:cubicBezTo>
                  <a:pt x="274" y="138"/>
                  <a:pt x="277" y="136"/>
                  <a:pt x="279" y="133"/>
                </a:cubicBezTo>
                <a:cubicBezTo>
                  <a:pt x="283" y="126"/>
                  <a:pt x="289" y="120"/>
                  <a:pt x="294" y="113"/>
                </a:cubicBezTo>
                <a:cubicBezTo>
                  <a:pt x="295" y="111"/>
                  <a:pt x="296" y="109"/>
                  <a:pt x="297" y="107"/>
                </a:cubicBezTo>
                <a:cubicBezTo>
                  <a:pt x="300" y="102"/>
                  <a:pt x="303" y="97"/>
                  <a:pt x="306" y="93"/>
                </a:cubicBezTo>
                <a:cubicBezTo>
                  <a:pt x="308" y="90"/>
                  <a:pt x="309" y="86"/>
                  <a:pt x="311" y="83"/>
                </a:cubicBezTo>
                <a:cubicBezTo>
                  <a:pt x="313" y="78"/>
                  <a:pt x="315" y="74"/>
                  <a:pt x="318" y="69"/>
                </a:cubicBezTo>
                <a:cubicBezTo>
                  <a:pt x="322" y="62"/>
                  <a:pt x="325" y="54"/>
                  <a:pt x="330" y="46"/>
                </a:cubicBezTo>
                <a:cubicBezTo>
                  <a:pt x="331" y="43"/>
                  <a:pt x="332" y="40"/>
                  <a:pt x="333" y="37"/>
                </a:cubicBezTo>
                <a:cubicBezTo>
                  <a:pt x="334" y="34"/>
                  <a:pt x="336" y="32"/>
                  <a:pt x="336" y="29"/>
                </a:cubicBezTo>
                <a:cubicBezTo>
                  <a:pt x="336" y="29"/>
                  <a:pt x="335" y="28"/>
                  <a:pt x="335" y="28"/>
                </a:cubicBezTo>
                <a:cubicBezTo>
                  <a:pt x="335" y="28"/>
                  <a:pt x="334" y="28"/>
                  <a:pt x="334" y="28"/>
                </a:cubicBezTo>
                <a:cubicBezTo>
                  <a:pt x="332" y="28"/>
                  <a:pt x="331" y="29"/>
                  <a:pt x="330" y="30"/>
                </a:cubicBezTo>
                <a:cubicBezTo>
                  <a:pt x="320" y="37"/>
                  <a:pt x="310" y="43"/>
                  <a:pt x="299" y="49"/>
                </a:cubicBezTo>
                <a:cubicBezTo>
                  <a:pt x="292" y="53"/>
                  <a:pt x="284" y="57"/>
                  <a:pt x="276" y="61"/>
                </a:cubicBezTo>
                <a:cubicBezTo>
                  <a:pt x="271" y="64"/>
                  <a:pt x="267" y="67"/>
                  <a:pt x="262" y="70"/>
                </a:cubicBezTo>
                <a:cubicBezTo>
                  <a:pt x="261" y="70"/>
                  <a:pt x="259" y="71"/>
                  <a:pt x="258" y="72"/>
                </a:cubicBezTo>
                <a:cubicBezTo>
                  <a:pt x="256" y="73"/>
                  <a:pt x="254" y="72"/>
                  <a:pt x="252" y="71"/>
                </a:cubicBezTo>
                <a:cubicBezTo>
                  <a:pt x="251" y="71"/>
                  <a:pt x="250" y="70"/>
                  <a:pt x="249" y="69"/>
                </a:cubicBezTo>
                <a:cubicBezTo>
                  <a:pt x="246" y="67"/>
                  <a:pt x="246" y="63"/>
                  <a:pt x="249" y="61"/>
                </a:cubicBezTo>
                <a:cubicBezTo>
                  <a:pt x="250" y="60"/>
                  <a:pt x="251" y="59"/>
                  <a:pt x="253" y="58"/>
                </a:cubicBezTo>
                <a:cubicBezTo>
                  <a:pt x="258" y="58"/>
                  <a:pt x="263" y="55"/>
                  <a:pt x="267" y="52"/>
                </a:cubicBezTo>
                <a:cubicBezTo>
                  <a:pt x="268" y="52"/>
                  <a:pt x="269" y="51"/>
                  <a:pt x="270" y="51"/>
                </a:cubicBezTo>
                <a:cubicBezTo>
                  <a:pt x="276" y="48"/>
                  <a:pt x="282" y="45"/>
                  <a:pt x="288" y="42"/>
                </a:cubicBezTo>
                <a:cubicBezTo>
                  <a:pt x="301" y="37"/>
                  <a:pt x="312" y="30"/>
                  <a:pt x="323" y="21"/>
                </a:cubicBezTo>
                <a:cubicBezTo>
                  <a:pt x="326" y="19"/>
                  <a:pt x="329" y="17"/>
                  <a:pt x="331" y="15"/>
                </a:cubicBezTo>
                <a:cubicBezTo>
                  <a:pt x="332" y="14"/>
                  <a:pt x="334" y="12"/>
                  <a:pt x="335" y="11"/>
                </a:cubicBezTo>
                <a:cubicBezTo>
                  <a:pt x="336" y="10"/>
                  <a:pt x="338" y="8"/>
                  <a:pt x="340" y="6"/>
                </a:cubicBezTo>
                <a:cubicBezTo>
                  <a:pt x="341" y="5"/>
                  <a:pt x="343" y="4"/>
                  <a:pt x="344" y="3"/>
                </a:cubicBezTo>
                <a:cubicBezTo>
                  <a:pt x="346" y="1"/>
                  <a:pt x="349" y="0"/>
                  <a:pt x="352" y="0"/>
                </a:cubicBezTo>
                <a:cubicBezTo>
                  <a:pt x="353" y="0"/>
                  <a:pt x="354" y="0"/>
                  <a:pt x="355" y="1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140" name="Freeform 177">
            <a:extLst>
              <a:ext uri="{FF2B5EF4-FFF2-40B4-BE49-F238E27FC236}">
                <a16:creationId xmlns:a16="http://schemas.microsoft.com/office/drawing/2014/main" id="{FA7EE076-3595-E969-9241-97D77B5E9613}"/>
              </a:ext>
            </a:extLst>
          </p:cNvPr>
          <p:cNvSpPr>
            <a:spLocks noChangeAspect="1"/>
          </p:cNvSpPr>
          <p:nvPr/>
        </p:nvSpPr>
        <p:spPr bwMode="auto">
          <a:xfrm rot="10130354" flipH="1">
            <a:off x="5155425" y="604608"/>
            <a:ext cx="614232" cy="475070"/>
          </a:xfrm>
          <a:custGeom>
            <a:avLst/>
            <a:gdLst>
              <a:gd name="T0" fmla="*/ 358 w 384"/>
              <a:gd name="T1" fmla="*/ 1 h 297"/>
              <a:gd name="T2" fmla="*/ 360 w 384"/>
              <a:gd name="T3" fmla="*/ 10 h 297"/>
              <a:gd name="T4" fmla="*/ 371 w 384"/>
              <a:gd name="T5" fmla="*/ 58 h 297"/>
              <a:gd name="T6" fmla="*/ 384 w 384"/>
              <a:gd name="T7" fmla="*/ 100 h 297"/>
              <a:gd name="T8" fmla="*/ 376 w 384"/>
              <a:gd name="T9" fmla="*/ 106 h 297"/>
              <a:gd name="T10" fmla="*/ 367 w 384"/>
              <a:gd name="T11" fmla="*/ 96 h 297"/>
              <a:gd name="T12" fmla="*/ 365 w 384"/>
              <a:gd name="T13" fmla="*/ 81 h 297"/>
              <a:gd name="T14" fmla="*/ 351 w 384"/>
              <a:gd name="T15" fmla="*/ 40 h 297"/>
              <a:gd name="T16" fmla="*/ 346 w 384"/>
              <a:gd name="T17" fmla="*/ 47 h 297"/>
              <a:gd name="T18" fmla="*/ 312 w 384"/>
              <a:gd name="T19" fmla="*/ 111 h 297"/>
              <a:gd name="T20" fmla="*/ 302 w 384"/>
              <a:gd name="T21" fmla="*/ 126 h 297"/>
              <a:gd name="T22" fmla="*/ 279 w 384"/>
              <a:gd name="T23" fmla="*/ 155 h 297"/>
              <a:gd name="T24" fmla="*/ 262 w 384"/>
              <a:gd name="T25" fmla="*/ 174 h 297"/>
              <a:gd name="T26" fmla="*/ 245 w 384"/>
              <a:gd name="T27" fmla="*/ 190 h 297"/>
              <a:gd name="T28" fmla="*/ 229 w 384"/>
              <a:gd name="T29" fmla="*/ 204 h 297"/>
              <a:gd name="T30" fmla="*/ 188 w 384"/>
              <a:gd name="T31" fmla="*/ 235 h 297"/>
              <a:gd name="T32" fmla="*/ 156 w 384"/>
              <a:gd name="T33" fmla="*/ 254 h 297"/>
              <a:gd name="T34" fmla="*/ 116 w 384"/>
              <a:gd name="T35" fmla="*/ 274 h 297"/>
              <a:gd name="T36" fmla="*/ 29 w 384"/>
              <a:gd name="T37" fmla="*/ 297 h 297"/>
              <a:gd name="T38" fmla="*/ 1 w 384"/>
              <a:gd name="T39" fmla="*/ 289 h 297"/>
              <a:gd name="T40" fmla="*/ 1 w 384"/>
              <a:gd name="T41" fmla="*/ 285 h 297"/>
              <a:gd name="T42" fmla="*/ 9 w 384"/>
              <a:gd name="T43" fmla="*/ 282 h 297"/>
              <a:gd name="T44" fmla="*/ 15 w 384"/>
              <a:gd name="T45" fmla="*/ 283 h 297"/>
              <a:gd name="T46" fmla="*/ 57 w 384"/>
              <a:gd name="T47" fmla="*/ 282 h 297"/>
              <a:gd name="T48" fmla="*/ 101 w 384"/>
              <a:gd name="T49" fmla="*/ 267 h 297"/>
              <a:gd name="T50" fmla="*/ 122 w 384"/>
              <a:gd name="T51" fmla="*/ 258 h 297"/>
              <a:gd name="T52" fmla="*/ 137 w 384"/>
              <a:gd name="T53" fmla="*/ 250 h 297"/>
              <a:gd name="T54" fmla="*/ 151 w 384"/>
              <a:gd name="T55" fmla="*/ 242 h 297"/>
              <a:gd name="T56" fmla="*/ 166 w 384"/>
              <a:gd name="T57" fmla="*/ 233 h 297"/>
              <a:gd name="T58" fmla="*/ 188 w 384"/>
              <a:gd name="T59" fmla="*/ 219 h 297"/>
              <a:gd name="T60" fmla="*/ 202 w 384"/>
              <a:gd name="T61" fmla="*/ 210 h 297"/>
              <a:gd name="T62" fmla="*/ 212 w 384"/>
              <a:gd name="T63" fmla="*/ 200 h 297"/>
              <a:gd name="T64" fmla="*/ 223 w 384"/>
              <a:gd name="T65" fmla="*/ 191 h 297"/>
              <a:gd name="T66" fmla="*/ 237 w 384"/>
              <a:gd name="T67" fmla="*/ 179 h 297"/>
              <a:gd name="T68" fmla="*/ 250 w 384"/>
              <a:gd name="T69" fmla="*/ 166 h 297"/>
              <a:gd name="T70" fmla="*/ 265 w 384"/>
              <a:gd name="T71" fmla="*/ 151 h 297"/>
              <a:gd name="T72" fmla="*/ 279 w 384"/>
              <a:gd name="T73" fmla="*/ 133 h 297"/>
              <a:gd name="T74" fmla="*/ 297 w 384"/>
              <a:gd name="T75" fmla="*/ 107 h 297"/>
              <a:gd name="T76" fmla="*/ 311 w 384"/>
              <a:gd name="T77" fmla="*/ 83 h 297"/>
              <a:gd name="T78" fmla="*/ 330 w 384"/>
              <a:gd name="T79" fmla="*/ 46 h 297"/>
              <a:gd name="T80" fmla="*/ 336 w 384"/>
              <a:gd name="T81" fmla="*/ 29 h 297"/>
              <a:gd name="T82" fmla="*/ 334 w 384"/>
              <a:gd name="T83" fmla="*/ 28 h 297"/>
              <a:gd name="T84" fmla="*/ 299 w 384"/>
              <a:gd name="T85" fmla="*/ 49 h 297"/>
              <a:gd name="T86" fmla="*/ 262 w 384"/>
              <a:gd name="T87" fmla="*/ 70 h 297"/>
              <a:gd name="T88" fmla="*/ 252 w 384"/>
              <a:gd name="T89" fmla="*/ 71 h 297"/>
              <a:gd name="T90" fmla="*/ 249 w 384"/>
              <a:gd name="T91" fmla="*/ 61 h 297"/>
              <a:gd name="T92" fmla="*/ 267 w 384"/>
              <a:gd name="T93" fmla="*/ 52 h 297"/>
              <a:gd name="T94" fmla="*/ 288 w 384"/>
              <a:gd name="T95" fmla="*/ 42 h 297"/>
              <a:gd name="T96" fmla="*/ 331 w 384"/>
              <a:gd name="T97" fmla="*/ 15 h 297"/>
              <a:gd name="T98" fmla="*/ 340 w 384"/>
              <a:gd name="T99" fmla="*/ 6 h 297"/>
              <a:gd name="T100" fmla="*/ 352 w 384"/>
              <a:gd name="T101" fmla="*/ 0 h 2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384" h="297">
                <a:moveTo>
                  <a:pt x="355" y="1"/>
                </a:moveTo>
                <a:cubicBezTo>
                  <a:pt x="355" y="1"/>
                  <a:pt x="357" y="1"/>
                  <a:pt x="358" y="1"/>
                </a:cubicBezTo>
                <a:cubicBezTo>
                  <a:pt x="360" y="2"/>
                  <a:pt x="362" y="5"/>
                  <a:pt x="361" y="7"/>
                </a:cubicBezTo>
                <a:cubicBezTo>
                  <a:pt x="361" y="8"/>
                  <a:pt x="360" y="9"/>
                  <a:pt x="360" y="10"/>
                </a:cubicBezTo>
                <a:cubicBezTo>
                  <a:pt x="360" y="12"/>
                  <a:pt x="359" y="13"/>
                  <a:pt x="360" y="15"/>
                </a:cubicBezTo>
                <a:cubicBezTo>
                  <a:pt x="362" y="30"/>
                  <a:pt x="366" y="44"/>
                  <a:pt x="371" y="58"/>
                </a:cubicBezTo>
                <a:cubicBezTo>
                  <a:pt x="372" y="61"/>
                  <a:pt x="374" y="65"/>
                  <a:pt x="375" y="69"/>
                </a:cubicBezTo>
                <a:cubicBezTo>
                  <a:pt x="379" y="79"/>
                  <a:pt x="381" y="89"/>
                  <a:pt x="384" y="100"/>
                </a:cubicBezTo>
                <a:cubicBezTo>
                  <a:pt x="384" y="101"/>
                  <a:pt x="384" y="102"/>
                  <a:pt x="383" y="103"/>
                </a:cubicBezTo>
                <a:cubicBezTo>
                  <a:pt x="382" y="106"/>
                  <a:pt x="379" y="107"/>
                  <a:pt x="376" y="106"/>
                </a:cubicBezTo>
                <a:cubicBezTo>
                  <a:pt x="373" y="104"/>
                  <a:pt x="370" y="102"/>
                  <a:pt x="368" y="99"/>
                </a:cubicBezTo>
                <a:cubicBezTo>
                  <a:pt x="368" y="98"/>
                  <a:pt x="367" y="97"/>
                  <a:pt x="367" y="96"/>
                </a:cubicBezTo>
                <a:cubicBezTo>
                  <a:pt x="367" y="94"/>
                  <a:pt x="366" y="93"/>
                  <a:pt x="366" y="91"/>
                </a:cubicBezTo>
                <a:cubicBezTo>
                  <a:pt x="366" y="88"/>
                  <a:pt x="366" y="84"/>
                  <a:pt x="365" y="81"/>
                </a:cubicBezTo>
                <a:cubicBezTo>
                  <a:pt x="361" y="68"/>
                  <a:pt x="357" y="55"/>
                  <a:pt x="353" y="42"/>
                </a:cubicBezTo>
                <a:cubicBezTo>
                  <a:pt x="352" y="41"/>
                  <a:pt x="352" y="41"/>
                  <a:pt x="351" y="40"/>
                </a:cubicBezTo>
                <a:cubicBezTo>
                  <a:pt x="350" y="40"/>
                  <a:pt x="349" y="40"/>
                  <a:pt x="348" y="42"/>
                </a:cubicBezTo>
                <a:cubicBezTo>
                  <a:pt x="348" y="44"/>
                  <a:pt x="347" y="45"/>
                  <a:pt x="346" y="47"/>
                </a:cubicBezTo>
                <a:cubicBezTo>
                  <a:pt x="341" y="57"/>
                  <a:pt x="337" y="67"/>
                  <a:pt x="332" y="76"/>
                </a:cubicBezTo>
                <a:cubicBezTo>
                  <a:pt x="326" y="88"/>
                  <a:pt x="320" y="100"/>
                  <a:pt x="312" y="111"/>
                </a:cubicBezTo>
                <a:cubicBezTo>
                  <a:pt x="310" y="114"/>
                  <a:pt x="309" y="117"/>
                  <a:pt x="307" y="119"/>
                </a:cubicBezTo>
                <a:cubicBezTo>
                  <a:pt x="305" y="122"/>
                  <a:pt x="304" y="124"/>
                  <a:pt x="302" y="126"/>
                </a:cubicBezTo>
                <a:cubicBezTo>
                  <a:pt x="301" y="126"/>
                  <a:pt x="301" y="127"/>
                  <a:pt x="300" y="128"/>
                </a:cubicBezTo>
                <a:cubicBezTo>
                  <a:pt x="295" y="138"/>
                  <a:pt x="287" y="146"/>
                  <a:pt x="279" y="155"/>
                </a:cubicBezTo>
                <a:cubicBezTo>
                  <a:pt x="275" y="160"/>
                  <a:pt x="270" y="165"/>
                  <a:pt x="266" y="170"/>
                </a:cubicBezTo>
                <a:cubicBezTo>
                  <a:pt x="264" y="171"/>
                  <a:pt x="263" y="173"/>
                  <a:pt x="262" y="174"/>
                </a:cubicBezTo>
                <a:cubicBezTo>
                  <a:pt x="259" y="177"/>
                  <a:pt x="256" y="179"/>
                  <a:pt x="253" y="183"/>
                </a:cubicBezTo>
                <a:cubicBezTo>
                  <a:pt x="251" y="185"/>
                  <a:pt x="248" y="188"/>
                  <a:pt x="245" y="190"/>
                </a:cubicBezTo>
                <a:cubicBezTo>
                  <a:pt x="241" y="194"/>
                  <a:pt x="238" y="198"/>
                  <a:pt x="233" y="201"/>
                </a:cubicBezTo>
                <a:cubicBezTo>
                  <a:pt x="232" y="202"/>
                  <a:pt x="230" y="203"/>
                  <a:pt x="229" y="204"/>
                </a:cubicBezTo>
                <a:cubicBezTo>
                  <a:pt x="219" y="213"/>
                  <a:pt x="209" y="220"/>
                  <a:pt x="198" y="228"/>
                </a:cubicBezTo>
                <a:cubicBezTo>
                  <a:pt x="195" y="230"/>
                  <a:pt x="191" y="232"/>
                  <a:pt x="188" y="235"/>
                </a:cubicBezTo>
                <a:cubicBezTo>
                  <a:pt x="183" y="238"/>
                  <a:pt x="178" y="242"/>
                  <a:pt x="172" y="245"/>
                </a:cubicBezTo>
                <a:cubicBezTo>
                  <a:pt x="167" y="248"/>
                  <a:pt x="161" y="252"/>
                  <a:pt x="156" y="254"/>
                </a:cubicBezTo>
                <a:cubicBezTo>
                  <a:pt x="153" y="255"/>
                  <a:pt x="151" y="257"/>
                  <a:pt x="148" y="258"/>
                </a:cubicBezTo>
                <a:cubicBezTo>
                  <a:pt x="138" y="264"/>
                  <a:pt x="127" y="269"/>
                  <a:pt x="116" y="274"/>
                </a:cubicBezTo>
                <a:cubicBezTo>
                  <a:pt x="90" y="286"/>
                  <a:pt x="62" y="294"/>
                  <a:pt x="33" y="296"/>
                </a:cubicBezTo>
                <a:cubicBezTo>
                  <a:pt x="32" y="296"/>
                  <a:pt x="30" y="297"/>
                  <a:pt x="29" y="297"/>
                </a:cubicBezTo>
                <a:cubicBezTo>
                  <a:pt x="24" y="296"/>
                  <a:pt x="19" y="297"/>
                  <a:pt x="14" y="297"/>
                </a:cubicBezTo>
                <a:cubicBezTo>
                  <a:pt x="8" y="297"/>
                  <a:pt x="4" y="294"/>
                  <a:pt x="1" y="289"/>
                </a:cubicBezTo>
                <a:cubicBezTo>
                  <a:pt x="1" y="289"/>
                  <a:pt x="1" y="288"/>
                  <a:pt x="1" y="288"/>
                </a:cubicBezTo>
                <a:cubicBezTo>
                  <a:pt x="0" y="287"/>
                  <a:pt x="0" y="286"/>
                  <a:pt x="1" y="285"/>
                </a:cubicBezTo>
                <a:cubicBezTo>
                  <a:pt x="1" y="284"/>
                  <a:pt x="2" y="283"/>
                  <a:pt x="3" y="283"/>
                </a:cubicBezTo>
                <a:cubicBezTo>
                  <a:pt x="5" y="282"/>
                  <a:pt x="7" y="282"/>
                  <a:pt x="9" y="282"/>
                </a:cubicBezTo>
                <a:cubicBezTo>
                  <a:pt x="11" y="281"/>
                  <a:pt x="13" y="282"/>
                  <a:pt x="14" y="282"/>
                </a:cubicBezTo>
                <a:cubicBezTo>
                  <a:pt x="15" y="282"/>
                  <a:pt x="15" y="282"/>
                  <a:pt x="15" y="283"/>
                </a:cubicBezTo>
                <a:cubicBezTo>
                  <a:pt x="20" y="286"/>
                  <a:pt x="26" y="286"/>
                  <a:pt x="31" y="285"/>
                </a:cubicBezTo>
                <a:cubicBezTo>
                  <a:pt x="40" y="284"/>
                  <a:pt x="49" y="283"/>
                  <a:pt x="57" y="282"/>
                </a:cubicBezTo>
                <a:cubicBezTo>
                  <a:pt x="62" y="281"/>
                  <a:pt x="67" y="279"/>
                  <a:pt x="72" y="278"/>
                </a:cubicBezTo>
                <a:cubicBezTo>
                  <a:pt x="82" y="275"/>
                  <a:pt x="92" y="272"/>
                  <a:pt x="101" y="267"/>
                </a:cubicBezTo>
                <a:cubicBezTo>
                  <a:pt x="104" y="266"/>
                  <a:pt x="107" y="265"/>
                  <a:pt x="110" y="264"/>
                </a:cubicBezTo>
                <a:cubicBezTo>
                  <a:pt x="114" y="263"/>
                  <a:pt x="118" y="261"/>
                  <a:pt x="122" y="258"/>
                </a:cubicBezTo>
                <a:cubicBezTo>
                  <a:pt x="124" y="257"/>
                  <a:pt x="127" y="255"/>
                  <a:pt x="129" y="255"/>
                </a:cubicBezTo>
                <a:cubicBezTo>
                  <a:pt x="132" y="253"/>
                  <a:pt x="135" y="252"/>
                  <a:pt x="137" y="250"/>
                </a:cubicBezTo>
                <a:cubicBezTo>
                  <a:pt x="139" y="248"/>
                  <a:pt x="141" y="248"/>
                  <a:pt x="142" y="247"/>
                </a:cubicBezTo>
                <a:cubicBezTo>
                  <a:pt x="145" y="245"/>
                  <a:pt x="148" y="244"/>
                  <a:pt x="151" y="242"/>
                </a:cubicBezTo>
                <a:cubicBezTo>
                  <a:pt x="155" y="240"/>
                  <a:pt x="159" y="239"/>
                  <a:pt x="162" y="236"/>
                </a:cubicBezTo>
                <a:cubicBezTo>
                  <a:pt x="163" y="235"/>
                  <a:pt x="165" y="234"/>
                  <a:pt x="166" y="233"/>
                </a:cubicBezTo>
                <a:cubicBezTo>
                  <a:pt x="172" y="231"/>
                  <a:pt x="177" y="227"/>
                  <a:pt x="182" y="223"/>
                </a:cubicBezTo>
                <a:cubicBezTo>
                  <a:pt x="184" y="222"/>
                  <a:pt x="186" y="220"/>
                  <a:pt x="188" y="219"/>
                </a:cubicBezTo>
                <a:cubicBezTo>
                  <a:pt x="190" y="217"/>
                  <a:pt x="193" y="215"/>
                  <a:pt x="196" y="214"/>
                </a:cubicBezTo>
                <a:cubicBezTo>
                  <a:pt x="198" y="213"/>
                  <a:pt x="200" y="212"/>
                  <a:pt x="202" y="210"/>
                </a:cubicBezTo>
                <a:cubicBezTo>
                  <a:pt x="204" y="208"/>
                  <a:pt x="205" y="207"/>
                  <a:pt x="207" y="205"/>
                </a:cubicBezTo>
                <a:cubicBezTo>
                  <a:pt x="209" y="204"/>
                  <a:pt x="211" y="202"/>
                  <a:pt x="212" y="200"/>
                </a:cubicBezTo>
                <a:cubicBezTo>
                  <a:pt x="213" y="199"/>
                  <a:pt x="214" y="198"/>
                  <a:pt x="215" y="197"/>
                </a:cubicBezTo>
                <a:cubicBezTo>
                  <a:pt x="218" y="195"/>
                  <a:pt x="221" y="193"/>
                  <a:pt x="223" y="191"/>
                </a:cubicBezTo>
                <a:cubicBezTo>
                  <a:pt x="225" y="189"/>
                  <a:pt x="227" y="187"/>
                  <a:pt x="229" y="186"/>
                </a:cubicBezTo>
                <a:cubicBezTo>
                  <a:pt x="232" y="184"/>
                  <a:pt x="235" y="181"/>
                  <a:pt x="237" y="179"/>
                </a:cubicBezTo>
                <a:cubicBezTo>
                  <a:pt x="239" y="176"/>
                  <a:pt x="241" y="174"/>
                  <a:pt x="243" y="173"/>
                </a:cubicBezTo>
                <a:cubicBezTo>
                  <a:pt x="245" y="171"/>
                  <a:pt x="248" y="168"/>
                  <a:pt x="250" y="166"/>
                </a:cubicBezTo>
                <a:cubicBezTo>
                  <a:pt x="252" y="165"/>
                  <a:pt x="254" y="163"/>
                  <a:pt x="255" y="161"/>
                </a:cubicBezTo>
                <a:cubicBezTo>
                  <a:pt x="258" y="158"/>
                  <a:pt x="261" y="154"/>
                  <a:pt x="265" y="151"/>
                </a:cubicBezTo>
                <a:cubicBezTo>
                  <a:pt x="267" y="147"/>
                  <a:pt x="269" y="144"/>
                  <a:pt x="272" y="141"/>
                </a:cubicBezTo>
                <a:cubicBezTo>
                  <a:pt x="274" y="138"/>
                  <a:pt x="277" y="136"/>
                  <a:pt x="279" y="133"/>
                </a:cubicBezTo>
                <a:cubicBezTo>
                  <a:pt x="283" y="126"/>
                  <a:pt x="289" y="120"/>
                  <a:pt x="294" y="113"/>
                </a:cubicBezTo>
                <a:cubicBezTo>
                  <a:pt x="295" y="111"/>
                  <a:pt x="296" y="109"/>
                  <a:pt x="297" y="107"/>
                </a:cubicBezTo>
                <a:cubicBezTo>
                  <a:pt x="300" y="102"/>
                  <a:pt x="303" y="97"/>
                  <a:pt x="306" y="93"/>
                </a:cubicBezTo>
                <a:cubicBezTo>
                  <a:pt x="308" y="90"/>
                  <a:pt x="309" y="86"/>
                  <a:pt x="311" y="83"/>
                </a:cubicBezTo>
                <a:cubicBezTo>
                  <a:pt x="313" y="78"/>
                  <a:pt x="315" y="74"/>
                  <a:pt x="318" y="69"/>
                </a:cubicBezTo>
                <a:cubicBezTo>
                  <a:pt x="322" y="62"/>
                  <a:pt x="325" y="54"/>
                  <a:pt x="330" y="46"/>
                </a:cubicBezTo>
                <a:cubicBezTo>
                  <a:pt x="331" y="43"/>
                  <a:pt x="332" y="40"/>
                  <a:pt x="333" y="37"/>
                </a:cubicBezTo>
                <a:cubicBezTo>
                  <a:pt x="334" y="34"/>
                  <a:pt x="336" y="32"/>
                  <a:pt x="336" y="29"/>
                </a:cubicBezTo>
                <a:cubicBezTo>
                  <a:pt x="336" y="29"/>
                  <a:pt x="335" y="28"/>
                  <a:pt x="335" y="28"/>
                </a:cubicBezTo>
                <a:cubicBezTo>
                  <a:pt x="335" y="28"/>
                  <a:pt x="334" y="28"/>
                  <a:pt x="334" y="28"/>
                </a:cubicBezTo>
                <a:cubicBezTo>
                  <a:pt x="332" y="28"/>
                  <a:pt x="331" y="29"/>
                  <a:pt x="330" y="30"/>
                </a:cubicBezTo>
                <a:cubicBezTo>
                  <a:pt x="320" y="37"/>
                  <a:pt x="310" y="43"/>
                  <a:pt x="299" y="49"/>
                </a:cubicBezTo>
                <a:cubicBezTo>
                  <a:pt x="292" y="53"/>
                  <a:pt x="284" y="57"/>
                  <a:pt x="276" y="61"/>
                </a:cubicBezTo>
                <a:cubicBezTo>
                  <a:pt x="271" y="64"/>
                  <a:pt x="267" y="67"/>
                  <a:pt x="262" y="70"/>
                </a:cubicBezTo>
                <a:cubicBezTo>
                  <a:pt x="261" y="70"/>
                  <a:pt x="259" y="71"/>
                  <a:pt x="258" y="72"/>
                </a:cubicBezTo>
                <a:cubicBezTo>
                  <a:pt x="256" y="73"/>
                  <a:pt x="254" y="72"/>
                  <a:pt x="252" y="71"/>
                </a:cubicBezTo>
                <a:cubicBezTo>
                  <a:pt x="251" y="71"/>
                  <a:pt x="250" y="70"/>
                  <a:pt x="249" y="69"/>
                </a:cubicBezTo>
                <a:cubicBezTo>
                  <a:pt x="246" y="67"/>
                  <a:pt x="246" y="63"/>
                  <a:pt x="249" y="61"/>
                </a:cubicBezTo>
                <a:cubicBezTo>
                  <a:pt x="250" y="60"/>
                  <a:pt x="251" y="59"/>
                  <a:pt x="253" y="58"/>
                </a:cubicBezTo>
                <a:cubicBezTo>
                  <a:pt x="258" y="58"/>
                  <a:pt x="263" y="55"/>
                  <a:pt x="267" y="52"/>
                </a:cubicBezTo>
                <a:cubicBezTo>
                  <a:pt x="268" y="52"/>
                  <a:pt x="269" y="51"/>
                  <a:pt x="270" y="51"/>
                </a:cubicBezTo>
                <a:cubicBezTo>
                  <a:pt x="276" y="48"/>
                  <a:pt x="282" y="45"/>
                  <a:pt x="288" y="42"/>
                </a:cubicBezTo>
                <a:cubicBezTo>
                  <a:pt x="301" y="37"/>
                  <a:pt x="312" y="30"/>
                  <a:pt x="323" y="21"/>
                </a:cubicBezTo>
                <a:cubicBezTo>
                  <a:pt x="326" y="19"/>
                  <a:pt x="329" y="17"/>
                  <a:pt x="331" y="15"/>
                </a:cubicBezTo>
                <a:cubicBezTo>
                  <a:pt x="332" y="14"/>
                  <a:pt x="334" y="12"/>
                  <a:pt x="335" y="11"/>
                </a:cubicBezTo>
                <a:cubicBezTo>
                  <a:pt x="336" y="10"/>
                  <a:pt x="338" y="8"/>
                  <a:pt x="340" y="6"/>
                </a:cubicBezTo>
                <a:cubicBezTo>
                  <a:pt x="341" y="5"/>
                  <a:pt x="343" y="4"/>
                  <a:pt x="344" y="3"/>
                </a:cubicBezTo>
                <a:cubicBezTo>
                  <a:pt x="346" y="1"/>
                  <a:pt x="349" y="0"/>
                  <a:pt x="352" y="0"/>
                </a:cubicBezTo>
                <a:cubicBezTo>
                  <a:pt x="353" y="0"/>
                  <a:pt x="354" y="0"/>
                  <a:pt x="355" y="1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grpSp>
        <p:nvGrpSpPr>
          <p:cNvPr id="1141" name="Group 1140">
            <a:extLst>
              <a:ext uri="{FF2B5EF4-FFF2-40B4-BE49-F238E27FC236}">
                <a16:creationId xmlns:a16="http://schemas.microsoft.com/office/drawing/2014/main" id="{F8D4ACFE-DF67-D61B-C55D-55456A31037E}"/>
              </a:ext>
            </a:extLst>
          </p:cNvPr>
          <p:cNvGrpSpPr/>
          <p:nvPr/>
        </p:nvGrpSpPr>
        <p:grpSpPr>
          <a:xfrm rot="888828">
            <a:off x="7889535" y="1886600"/>
            <a:ext cx="871071" cy="186967"/>
            <a:chOff x="7389584" y="873238"/>
            <a:chExt cx="2311760" cy="248853"/>
          </a:xfrm>
          <a:noFill/>
        </p:grpSpPr>
        <p:sp>
          <p:nvSpPr>
            <p:cNvPr id="1142" name="Rectangle 1141">
              <a:extLst>
                <a:ext uri="{FF2B5EF4-FFF2-40B4-BE49-F238E27FC236}">
                  <a16:creationId xmlns:a16="http://schemas.microsoft.com/office/drawing/2014/main" id="{1C916590-C0CA-CD37-05A9-35F1F9B8EA8A}"/>
                </a:ext>
              </a:extLst>
            </p:cNvPr>
            <p:cNvSpPr/>
            <p:nvPr/>
          </p:nvSpPr>
          <p:spPr bwMode="gray">
            <a:xfrm>
              <a:off x="7389584" y="873238"/>
              <a:ext cx="2311760" cy="248853"/>
            </a:xfrm>
            <a:prstGeom prst="rect">
              <a:avLst/>
            </a:prstGeom>
            <a:grpFill/>
            <a:ln w="9525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r>
                <a:rPr lang="en-GB" sz="800" i="1" dirty="0">
                  <a:latin typeface="+mj-lt"/>
                </a:rPr>
                <a:t>Not exhaustive</a:t>
              </a:r>
            </a:p>
          </p:txBody>
        </p:sp>
        <p:cxnSp>
          <p:nvCxnSpPr>
            <p:cNvPr id="1143" name="Straight Connector 1142">
              <a:extLst>
                <a:ext uri="{FF2B5EF4-FFF2-40B4-BE49-F238E27FC236}">
                  <a16:creationId xmlns:a16="http://schemas.microsoft.com/office/drawing/2014/main" id="{F59B9891-8F1E-B2AF-C92E-418205ADBA1D}"/>
                </a:ext>
              </a:extLst>
            </p:cNvPr>
            <p:cNvCxnSpPr/>
            <p:nvPr/>
          </p:nvCxnSpPr>
          <p:spPr>
            <a:xfrm>
              <a:off x="7389584" y="873238"/>
              <a:ext cx="2311760" cy="0"/>
            </a:xfrm>
            <a:prstGeom prst="line">
              <a:avLst/>
            </a:prstGeom>
            <a:grpFill/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4" name="Straight Connector 1143">
              <a:extLst>
                <a:ext uri="{FF2B5EF4-FFF2-40B4-BE49-F238E27FC236}">
                  <a16:creationId xmlns:a16="http://schemas.microsoft.com/office/drawing/2014/main" id="{6B4C08F1-0176-28BB-2683-9F86C35D73A3}"/>
                </a:ext>
              </a:extLst>
            </p:cNvPr>
            <p:cNvCxnSpPr/>
            <p:nvPr/>
          </p:nvCxnSpPr>
          <p:spPr>
            <a:xfrm>
              <a:off x="7389584" y="1122091"/>
              <a:ext cx="2311760" cy="0"/>
            </a:xfrm>
            <a:prstGeom prst="line">
              <a:avLst/>
            </a:prstGeom>
            <a:grpFill/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70011956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9" name="Object 28" hidden="1">
            <a:extLst>
              <a:ext uri="{FF2B5EF4-FFF2-40B4-BE49-F238E27FC236}">
                <a16:creationId xmlns:a16="http://schemas.microsoft.com/office/drawing/2014/main" id="{2CEC7109-0DA0-61B4-950B-F65ACB1FA4A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806901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5" progId="TCLayout.ActiveDocument.1">
                  <p:embed/>
                </p:oleObj>
              </mc:Choice>
              <mc:Fallback>
                <p:oleObj name="think-cell Slide" r:id="rId3" imgW="592" imgH="595" progId="TCLayout.ActiveDocument.1">
                  <p:embed/>
                  <p:pic>
                    <p:nvPicPr>
                      <p:cNvPr id="29" name="Object 28" hidden="1">
                        <a:extLst>
                          <a:ext uri="{FF2B5EF4-FFF2-40B4-BE49-F238E27FC236}">
                            <a16:creationId xmlns:a16="http://schemas.microsoft.com/office/drawing/2014/main" id="{2CEC7109-0DA0-61B4-950B-F65ACB1FA4A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BD3E82A-BA15-BC52-713E-796461ACF71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98DEE5-5424-45CB-8336-3215AFBD0173}" type="slidenum">
              <a:rPr lang="it-IT" smtClean="0"/>
              <a:pPr/>
              <a:t>6</a:t>
            </a:fld>
            <a:endParaRPr lang="it-IT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DEAD73AB-147F-CC5D-B5F4-FA9AE363A19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it-IT" dirty="0"/>
              <a:t>The Urban </a:t>
            </a:r>
            <a:r>
              <a:rPr lang="it-IT" dirty="0" err="1"/>
              <a:t>Mobility</a:t>
            </a:r>
            <a:r>
              <a:rPr lang="it-IT" dirty="0"/>
              <a:t> </a:t>
            </a:r>
            <a:r>
              <a:rPr lang="it-IT" dirty="0" err="1"/>
              <a:t>Council</a:t>
            </a:r>
            <a:r>
              <a:rPr lang="it-IT" dirty="0"/>
              <a:t> | Green box</a:t>
            </a:r>
          </a:p>
        </p:txBody>
      </p:sp>
      <p:pic>
        <p:nvPicPr>
          <p:cNvPr id="4" name="Picture 3" descr="Cars in a traffic jam">
            <a:extLst>
              <a:ext uri="{FF2B5EF4-FFF2-40B4-BE49-F238E27FC236}">
                <a16:creationId xmlns:a16="http://schemas.microsoft.com/office/drawing/2014/main" id="{FCDE6171-8615-61AE-2A0F-215CFA6768C0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hqprint">
            <a:lum bright="70000" contrast="-7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486148"/>
            <a:ext cx="4182420" cy="4337112"/>
          </a:xfrm>
          <a:prstGeom prst="rect">
            <a:avLst/>
          </a:prstGeom>
        </p:spPr>
      </p:pic>
      <p:sp>
        <p:nvSpPr>
          <p:cNvPr id="5" name="Trapezoid 4">
            <a:extLst>
              <a:ext uri="{FF2B5EF4-FFF2-40B4-BE49-F238E27FC236}">
                <a16:creationId xmlns:a16="http://schemas.microsoft.com/office/drawing/2014/main" id="{25F11171-DA47-E375-4F33-7EC775680207}"/>
              </a:ext>
            </a:extLst>
          </p:cNvPr>
          <p:cNvSpPr/>
          <p:nvPr/>
        </p:nvSpPr>
        <p:spPr>
          <a:xfrm rot="16200000">
            <a:off x="1302951" y="2444612"/>
            <a:ext cx="4337029" cy="420098"/>
          </a:xfrm>
          <a:prstGeom prst="trapezoid">
            <a:avLst>
              <a:gd name="adj" fmla="val 186225"/>
            </a:avLst>
          </a:prstGeom>
          <a:gradFill flip="none" rotWithShape="1">
            <a:gsLst>
              <a:gs pos="0">
                <a:srgbClr val="E1F0FF"/>
              </a:gs>
              <a:gs pos="100000">
                <a:srgbClr val="FFFFFF"/>
              </a:gs>
            </a:gsLst>
            <a:lin ang="16200000" scaled="1"/>
            <a:tileRect/>
          </a:gradFill>
          <a:ln w="3175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r>
              <a:rPr kumimoji="0" lang="it-IT" sz="1100" b="1" i="0" u="none" strike="noStrike" kern="120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/>
                <a:ea typeface="+mn-ea"/>
                <a:cs typeface="Calibri" panose="020F0502020204030204" pitchFamily="34" charset="0"/>
              </a:rPr>
              <a:t> 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F0467A60-31F3-5D18-5081-50DA1F546D25}"/>
              </a:ext>
            </a:extLst>
          </p:cNvPr>
          <p:cNvSpPr/>
          <p:nvPr/>
        </p:nvSpPr>
        <p:spPr>
          <a:xfrm>
            <a:off x="304688" y="1276916"/>
            <a:ext cx="2946268" cy="2755490"/>
          </a:xfrm>
          <a:prstGeom prst="rect">
            <a:avLst/>
          </a:prstGeom>
          <a:solidFill>
            <a:srgbClr val="FFFFFF"/>
          </a:solidFill>
          <a:ln w="25400" cap="flat" cmpd="sng" algn="ctr">
            <a:solidFill>
              <a:srgbClr val="004890"/>
            </a:solidFill>
            <a:prstDash val="solid"/>
            <a:extLst>
              <a:ext uri="{C807C97D-BFC1-408E-A445-0C87EB9F89A2}">
                <ask:lineSketchStyleProps xmlns:ask="http://schemas.microsoft.com/office/drawing/2018/sketchyshapes" sd="3110503010">
                  <a:custGeom>
                    <a:avLst/>
                    <a:gdLst>
                      <a:gd name="connsiteX0" fmla="*/ 0 w 3960698"/>
                      <a:gd name="connsiteY0" fmla="*/ 0 h 4074656"/>
                      <a:gd name="connsiteX1" fmla="*/ 526207 w 3960698"/>
                      <a:gd name="connsiteY1" fmla="*/ 0 h 4074656"/>
                      <a:gd name="connsiteX2" fmla="*/ 1092021 w 3960698"/>
                      <a:gd name="connsiteY2" fmla="*/ 0 h 4074656"/>
                      <a:gd name="connsiteX3" fmla="*/ 1539014 w 3960698"/>
                      <a:gd name="connsiteY3" fmla="*/ 0 h 4074656"/>
                      <a:gd name="connsiteX4" fmla="*/ 2184042 w 3960698"/>
                      <a:gd name="connsiteY4" fmla="*/ 0 h 4074656"/>
                      <a:gd name="connsiteX5" fmla="*/ 2749856 w 3960698"/>
                      <a:gd name="connsiteY5" fmla="*/ 0 h 4074656"/>
                      <a:gd name="connsiteX6" fmla="*/ 3196849 w 3960698"/>
                      <a:gd name="connsiteY6" fmla="*/ 0 h 4074656"/>
                      <a:gd name="connsiteX7" fmla="*/ 3960698 w 3960698"/>
                      <a:gd name="connsiteY7" fmla="*/ 0 h 4074656"/>
                      <a:gd name="connsiteX8" fmla="*/ 3960698 w 3960698"/>
                      <a:gd name="connsiteY8" fmla="*/ 622840 h 4074656"/>
                      <a:gd name="connsiteX9" fmla="*/ 3960698 w 3960698"/>
                      <a:gd name="connsiteY9" fmla="*/ 1286427 h 4074656"/>
                      <a:gd name="connsiteX10" fmla="*/ 3960698 w 3960698"/>
                      <a:gd name="connsiteY10" fmla="*/ 1950014 h 4074656"/>
                      <a:gd name="connsiteX11" fmla="*/ 3960698 w 3960698"/>
                      <a:gd name="connsiteY11" fmla="*/ 2532108 h 4074656"/>
                      <a:gd name="connsiteX12" fmla="*/ 3960698 w 3960698"/>
                      <a:gd name="connsiteY12" fmla="*/ 3114201 h 4074656"/>
                      <a:gd name="connsiteX13" fmla="*/ 3960698 w 3960698"/>
                      <a:gd name="connsiteY13" fmla="*/ 4074656 h 4074656"/>
                      <a:gd name="connsiteX14" fmla="*/ 3394884 w 3960698"/>
                      <a:gd name="connsiteY14" fmla="*/ 4074656 h 4074656"/>
                      <a:gd name="connsiteX15" fmla="*/ 2947891 w 3960698"/>
                      <a:gd name="connsiteY15" fmla="*/ 4074656 h 4074656"/>
                      <a:gd name="connsiteX16" fmla="*/ 2461291 w 3960698"/>
                      <a:gd name="connsiteY16" fmla="*/ 4074656 h 4074656"/>
                      <a:gd name="connsiteX17" fmla="*/ 1974691 w 3960698"/>
                      <a:gd name="connsiteY17" fmla="*/ 4074656 h 4074656"/>
                      <a:gd name="connsiteX18" fmla="*/ 1527698 w 3960698"/>
                      <a:gd name="connsiteY18" fmla="*/ 4074656 h 4074656"/>
                      <a:gd name="connsiteX19" fmla="*/ 882670 w 3960698"/>
                      <a:gd name="connsiteY19" fmla="*/ 4074656 h 4074656"/>
                      <a:gd name="connsiteX20" fmla="*/ 0 w 3960698"/>
                      <a:gd name="connsiteY20" fmla="*/ 4074656 h 4074656"/>
                      <a:gd name="connsiteX21" fmla="*/ 0 w 3960698"/>
                      <a:gd name="connsiteY21" fmla="*/ 3411069 h 4074656"/>
                      <a:gd name="connsiteX22" fmla="*/ 0 w 3960698"/>
                      <a:gd name="connsiteY22" fmla="*/ 2747482 h 4074656"/>
                      <a:gd name="connsiteX23" fmla="*/ 0 w 3960698"/>
                      <a:gd name="connsiteY23" fmla="*/ 2287628 h 4074656"/>
                      <a:gd name="connsiteX24" fmla="*/ 0 w 3960698"/>
                      <a:gd name="connsiteY24" fmla="*/ 1746281 h 4074656"/>
                      <a:gd name="connsiteX25" fmla="*/ 0 w 3960698"/>
                      <a:gd name="connsiteY25" fmla="*/ 1164187 h 4074656"/>
                      <a:gd name="connsiteX26" fmla="*/ 0 w 3960698"/>
                      <a:gd name="connsiteY26" fmla="*/ 663587 h 4074656"/>
                      <a:gd name="connsiteX27" fmla="*/ 0 w 3960698"/>
                      <a:gd name="connsiteY27" fmla="*/ 0 h 407465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  <a:cxn ang="0">
                        <a:pos x="connsiteX25" y="connsiteY25"/>
                      </a:cxn>
                      <a:cxn ang="0">
                        <a:pos x="connsiteX26" y="connsiteY26"/>
                      </a:cxn>
                      <a:cxn ang="0">
                        <a:pos x="connsiteX27" y="connsiteY27"/>
                      </a:cxn>
                    </a:cxnLst>
                    <a:rect l="l" t="t" r="r" b="b"/>
                    <a:pathLst>
                      <a:path w="3960698" h="4074656" fill="none" extrusionOk="0">
                        <a:moveTo>
                          <a:pt x="0" y="0"/>
                        </a:moveTo>
                        <a:cubicBezTo>
                          <a:pt x="244430" y="-2003"/>
                          <a:pt x="394755" y="527"/>
                          <a:pt x="526207" y="0"/>
                        </a:cubicBezTo>
                        <a:cubicBezTo>
                          <a:pt x="657659" y="-527"/>
                          <a:pt x="964663" y="3872"/>
                          <a:pt x="1092021" y="0"/>
                        </a:cubicBezTo>
                        <a:cubicBezTo>
                          <a:pt x="1219379" y="-3872"/>
                          <a:pt x="1337528" y="9556"/>
                          <a:pt x="1539014" y="0"/>
                        </a:cubicBezTo>
                        <a:cubicBezTo>
                          <a:pt x="1740500" y="-9556"/>
                          <a:pt x="1864990" y="31147"/>
                          <a:pt x="2184042" y="0"/>
                        </a:cubicBezTo>
                        <a:cubicBezTo>
                          <a:pt x="2503094" y="-31147"/>
                          <a:pt x="2593385" y="8551"/>
                          <a:pt x="2749856" y="0"/>
                        </a:cubicBezTo>
                        <a:cubicBezTo>
                          <a:pt x="2906327" y="-8551"/>
                          <a:pt x="3033655" y="32661"/>
                          <a:pt x="3196849" y="0"/>
                        </a:cubicBezTo>
                        <a:cubicBezTo>
                          <a:pt x="3360043" y="-32661"/>
                          <a:pt x="3758291" y="62739"/>
                          <a:pt x="3960698" y="0"/>
                        </a:cubicBezTo>
                        <a:cubicBezTo>
                          <a:pt x="3967598" y="241360"/>
                          <a:pt x="3918504" y="407215"/>
                          <a:pt x="3960698" y="622840"/>
                        </a:cubicBezTo>
                        <a:cubicBezTo>
                          <a:pt x="4002892" y="838465"/>
                          <a:pt x="3884983" y="972058"/>
                          <a:pt x="3960698" y="1286427"/>
                        </a:cubicBezTo>
                        <a:cubicBezTo>
                          <a:pt x="4036413" y="1600796"/>
                          <a:pt x="3920459" y="1621309"/>
                          <a:pt x="3960698" y="1950014"/>
                        </a:cubicBezTo>
                        <a:cubicBezTo>
                          <a:pt x="4000937" y="2278719"/>
                          <a:pt x="3928125" y="2245719"/>
                          <a:pt x="3960698" y="2532108"/>
                        </a:cubicBezTo>
                        <a:cubicBezTo>
                          <a:pt x="3993271" y="2818497"/>
                          <a:pt x="3954578" y="2856696"/>
                          <a:pt x="3960698" y="3114201"/>
                        </a:cubicBezTo>
                        <a:cubicBezTo>
                          <a:pt x="3966818" y="3371706"/>
                          <a:pt x="3876558" y="3607875"/>
                          <a:pt x="3960698" y="4074656"/>
                        </a:cubicBezTo>
                        <a:cubicBezTo>
                          <a:pt x="3751583" y="4137106"/>
                          <a:pt x="3587675" y="4036019"/>
                          <a:pt x="3394884" y="4074656"/>
                        </a:cubicBezTo>
                        <a:cubicBezTo>
                          <a:pt x="3202093" y="4113293"/>
                          <a:pt x="3162579" y="4031801"/>
                          <a:pt x="2947891" y="4074656"/>
                        </a:cubicBezTo>
                        <a:cubicBezTo>
                          <a:pt x="2733203" y="4117511"/>
                          <a:pt x="2630776" y="4026004"/>
                          <a:pt x="2461291" y="4074656"/>
                        </a:cubicBezTo>
                        <a:cubicBezTo>
                          <a:pt x="2291806" y="4123308"/>
                          <a:pt x="2200694" y="4053456"/>
                          <a:pt x="1974691" y="4074656"/>
                        </a:cubicBezTo>
                        <a:cubicBezTo>
                          <a:pt x="1748688" y="4095856"/>
                          <a:pt x="1740098" y="4048450"/>
                          <a:pt x="1527698" y="4074656"/>
                        </a:cubicBezTo>
                        <a:cubicBezTo>
                          <a:pt x="1315298" y="4100862"/>
                          <a:pt x="1059187" y="4062227"/>
                          <a:pt x="882670" y="4074656"/>
                        </a:cubicBezTo>
                        <a:cubicBezTo>
                          <a:pt x="706153" y="4087085"/>
                          <a:pt x="230999" y="4005856"/>
                          <a:pt x="0" y="4074656"/>
                        </a:cubicBezTo>
                        <a:cubicBezTo>
                          <a:pt x="-58795" y="3842339"/>
                          <a:pt x="1717" y="3551503"/>
                          <a:pt x="0" y="3411069"/>
                        </a:cubicBezTo>
                        <a:cubicBezTo>
                          <a:pt x="-1717" y="3270635"/>
                          <a:pt x="8687" y="2902410"/>
                          <a:pt x="0" y="2747482"/>
                        </a:cubicBezTo>
                        <a:cubicBezTo>
                          <a:pt x="-8687" y="2592554"/>
                          <a:pt x="41471" y="2456975"/>
                          <a:pt x="0" y="2287628"/>
                        </a:cubicBezTo>
                        <a:cubicBezTo>
                          <a:pt x="-41471" y="2118281"/>
                          <a:pt x="5155" y="2015705"/>
                          <a:pt x="0" y="1746281"/>
                        </a:cubicBezTo>
                        <a:cubicBezTo>
                          <a:pt x="-5155" y="1476857"/>
                          <a:pt x="420" y="1360348"/>
                          <a:pt x="0" y="1164187"/>
                        </a:cubicBezTo>
                        <a:cubicBezTo>
                          <a:pt x="-420" y="968026"/>
                          <a:pt x="819" y="792211"/>
                          <a:pt x="0" y="663587"/>
                        </a:cubicBezTo>
                        <a:cubicBezTo>
                          <a:pt x="-819" y="534963"/>
                          <a:pt x="52700" y="273476"/>
                          <a:pt x="0" y="0"/>
                        </a:cubicBezTo>
                        <a:close/>
                      </a:path>
                      <a:path w="3960698" h="4074656" stroke="0" extrusionOk="0">
                        <a:moveTo>
                          <a:pt x="0" y="0"/>
                        </a:moveTo>
                        <a:cubicBezTo>
                          <a:pt x="183401" y="-9040"/>
                          <a:pt x="289828" y="847"/>
                          <a:pt x="446993" y="0"/>
                        </a:cubicBezTo>
                        <a:cubicBezTo>
                          <a:pt x="604158" y="-847"/>
                          <a:pt x="758465" y="54673"/>
                          <a:pt x="933593" y="0"/>
                        </a:cubicBezTo>
                        <a:cubicBezTo>
                          <a:pt x="1108721" y="-54673"/>
                          <a:pt x="1265175" y="65622"/>
                          <a:pt x="1499407" y="0"/>
                        </a:cubicBezTo>
                        <a:cubicBezTo>
                          <a:pt x="1733639" y="-65622"/>
                          <a:pt x="1974406" y="10116"/>
                          <a:pt x="2104828" y="0"/>
                        </a:cubicBezTo>
                        <a:cubicBezTo>
                          <a:pt x="2235250" y="-10116"/>
                          <a:pt x="2545693" y="51213"/>
                          <a:pt x="2749856" y="0"/>
                        </a:cubicBezTo>
                        <a:cubicBezTo>
                          <a:pt x="2954019" y="-51213"/>
                          <a:pt x="3143000" y="33475"/>
                          <a:pt x="3276063" y="0"/>
                        </a:cubicBezTo>
                        <a:cubicBezTo>
                          <a:pt x="3409126" y="-33475"/>
                          <a:pt x="3755417" y="21830"/>
                          <a:pt x="3960698" y="0"/>
                        </a:cubicBezTo>
                        <a:cubicBezTo>
                          <a:pt x="3998123" y="224033"/>
                          <a:pt x="3944973" y="276781"/>
                          <a:pt x="3960698" y="459854"/>
                        </a:cubicBezTo>
                        <a:cubicBezTo>
                          <a:pt x="3976423" y="642927"/>
                          <a:pt x="3913311" y="898270"/>
                          <a:pt x="3960698" y="1082694"/>
                        </a:cubicBezTo>
                        <a:cubicBezTo>
                          <a:pt x="4008085" y="1267118"/>
                          <a:pt x="3934419" y="1442873"/>
                          <a:pt x="3960698" y="1624041"/>
                        </a:cubicBezTo>
                        <a:cubicBezTo>
                          <a:pt x="3986977" y="1805209"/>
                          <a:pt x="3948068" y="1944722"/>
                          <a:pt x="3960698" y="2124642"/>
                        </a:cubicBezTo>
                        <a:cubicBezTo>
                          <a:pt x="3973328" y="2304562"/>
                          <a:pt x="3922530" y="2409735"/>
                          <a:pt x="3960698" y="2584496"/>
                        </a:cubicBezTo>
                        <a:cubicBezTo>
                          <a:pt x="3998866" y="2759257"/>
                          <a:pt x="3958445" y="2854283"/>
                          <a:pt x="3960698" y="3044350"/>
                        </a:cubicBezTo>
                        <a:cubicBezTo>
                          <a:pt x="3962951" y="3234417"/>
                          <a:pt x="3948619" y="3277445"/>
                          <a:pt x="3960698" y="3504204"/>
                        </a:cubicBezTo>
                        <a:cubicBezTo>
                          <a:pt x="3972777" y="3730963"/>
                          <a:pt x="3904209" y="3846382"/>
                          <a:pt x="3960698" y="4074656"/>
                        </a:cubicBezTo>
                        <a:cubicBezTo>
                          <a:pt x="3708982" y="4076961"/>
                          <a:pt x="3528615" y="4046683"/>
                          <a:pt x="3355277" y="4074656"/>
                        </a:cubicBezTo>
                        <a:cubicBezTo>
                          <a:pt x="3181939" y="4102629"/>
                          <a:pt x="3002748" y="4008406"/>
                          <a:pt x="2710249" y="4074656"/>
                        </a:cubicBezTo>
                        <a:cubicBezTo>
                          <a:pt x="2417750" y="4140906"/>
                          <a:pt x="2396312" y="4040949"/>
                          <a:pt x="2104828" y="4074656"/>
                        </a:cubicBezTo>
                        <a:cubicBezTo>
                          <a:pt x="1813344" y="4108363"/>
                          <a:pt x="1659654" y="4069913"/>
                          <a:pt x="1539014" y="4074656"/>
                        </a:cubicBezTo>
                        <a:cubicBezTo>
                          <a:pt x="1418374" y="4079399"/>
                          <a:pt x="1286726" y="4067540"/>
                          <a:pt x="1052414" y="4074656"/>
                        </a:cubicBezTo>
                        <a:cubicBezTo>
                          <a:pt x="818102" y="4081772"/>
                          <a:pt x="752708" y="4040614"/>
                          <a:pt x="526207" y="4074656"/>
                        </a:cubicBezTo>
                        <a:cubicBezTo>
                          <a:pt x="299706" y="4108698"/>
                          <a:pt x="236796" y="4057031"/>
                          <a:pt x="0" y="4074656"/>
                        </a:cubicBezTo>
                        <a:cubicBezTo>
                          <a:pt x="-29557" y="3908673"/>
                          <a:pt x="36301" y="3650957"/>
                          <a:pt x="0" y="3533309"/>
                        </a:cubicBezTo>
                        <a:cubicBezTo>
                          <a:pt x="-36301" y="3415661"/>
                          <a:pt x="18252" y="3093315"/>
                          <a:pt x="0" y="2951215"/>
                        </a:cubicBezTo>
                        <a:cubicBezTo>
                          <a:pt x="-18252" y="2809115"/>
                          <a:pt x="4396" y="2655072"/>
                          <a:pt x="0" y="2491361"/>
                        </a:cubicBezTo>
                        <a:cubicBezTo>
                          <a:pt x="-4396" y="2327650"/>
                          <a:pt x="35911" y="2133067"/>
                          <a:pt x="0" y="1909267"/>
                        </a:cubicBezTo>
                        <a:cubicBezTo>
                          <a:pt x="-35911" y="1685467"/>
                          <a:pt x="6760" y="1606791"/>
                          <a:pt x="0" y="1449413"/>
                        </a:cubicBezTo>
                        <a:cubicBezTo>
                          <a:pt x="-6760" y="1292035"/>
                          <a:pt x="19266" y="1113260"/>
                          <a:pt x="0" y="785827"/>
                        </a:cubicBezTo>
                        <a:cubicBezTo>
                          <a:pt x="-19266" y="458394"/>
                          <a:pt x="56620" y="274698"/>
                          <a:pt x="0" y="0"/>
                        </a:cubicBezTo>
                        <a:close/>
                      </a:path>
                    </a:pathLst>
                  </a:custGeom>
                  <ask:type>
                    <ask:lineSketchNone/>
                  </ask:type>
                </ask:lineSketchStyleProps>
              </a:ext>
            </a:extLst>
          </a:ln>
          <a:effectLst/>
        </p:spPr>
        <p:txBody>
          <a:bodyPr rtlCol="0" anchor="ctr"/>
          <a:lstStyle/>
          <a:p>
            <a:pPr algn="ctr" defTabSz="914400">
              <a:defRPr/>
            </a:pPr>
            <a:endParaRPr kumimoji="0" lang="it-IT" sz="1600" b="0" i="0" u="none" strike="noStrike" kern="0" cap="none" spc="0" normalizeH="0" baseline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  <a:p>
            <a:pPr algn="ctr" defTabSz="914400">
              <a:defRPr/>
            </a:pPr>
            <a:r>
              <a:rPr kumimoji="0" lang="en-US" sz="1600" b="0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Today the </a:t>
            </a:r>
            <a:r>
              <a:rPr kumimoji="0" lang="en-US" sz="16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most virtuous municipalities </a:t>
            </a:r>
            <a:r>
              <a:rPr kumimoji="0" lang="en-US" sz="1600" b="0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started to </a:t>
            </a:r>
            <a:r>
              <a:rPr kumimoji="0" lang="en-US" sz="16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allow access </a:t>
            </a:r>
            <a:r>
              <a:rPr kumimoji="0" lang="en-US" sz="1600" b="0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to </a:t>
            </a:r>
            <a:r>
              <a:rPr kumimoji="0" lang="en-US" sz="16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downtowns </a:t>
            </a:r>
            <a:r>
              <a:rPr kumimoji="0" lang="en-US" sz="1600" b="0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based not only on the </a:t>
            </a:r>
            <a:r>
              <a:rPr kumimoji="0" lang="en-US" sz="16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polluting class</a:t>
            </a:r>
            <a:r>
              <a:rPr kumimoji="0" lang="en-US" sz="1600" b="0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, but also by </a:t>
            </a:r>
            <a:r>
              <a:rPr kumimoji="0" lang="en-US" sz="16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limiting </a:t>
            </a:r>
            <a:r>
              <a:rPr kumimoji="0" lang="en-US" sz="1600" b="0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the </a:t>
            </a:r>
            <a:r>
              <a:rPr kumimoji="0" lang="en-US" sz="16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kilometers traveled </a:t>
            </a:r>
            <a:r>
              <a:rPr kumimoji="0" lang="en-US" sz="1600" b="0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by vehicles with the </a:t>
            </a:r>
            <a:r>
              <a:rPr kumimoji="0" lang="en-US" sz="16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most critical polluting classes </a:t>
            </a:r>
            <a:r>
              <a:rPr kumimoji="0" lang="en-US" sz="1600" b="0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(</a:t>
            </a:r>
            <a:r>
              <a:rPr kumimoji="0" lang="en-US" sz="1600" b="0" i="0" u="none" strike="noStrike" kern="0" cap="none" spc="0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MoVe</a:t>
            </a:r>
            <a:r>
              <a:rPr kumimoji="0" lang="en-US" sz="1600" b="0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-In)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49C1C188-5238-8036-A04A-B7EC4825FB33}"/>
              </a:ext>
            </a:extLst>
          </p:cNvPr>
          <p:cNvSpPr/>
          <p:nvPr/>
        </p:nvSpPr>
        <p:spPr>
          <a:xfrm>
            <a:off x="3681515" y="486190"/>
            <a:ext cx="5462485" cy="4337028"/>
          </a:xfrm>
          <a:prstGeom prst="rect">
            <a:avLst/>
          </a:prstGeom>
          <a:solidFill>
            <a:srgbClr val="E1F0FF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200" b="0" i="0" u="none" strike="noStrike" kern="0" cap="none" spc="0" normalizeH="0" baseline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" pitchFamily="2" charset="77"/>
              <a:ea typeface="+mn-ea"/>
              <a:cs typeface="+mn-cs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4FD04CD7-2F69-5E3E-B2DE-1001EB3F56B2}"/>
              </a:ext>
            </a:extLst>
          </p:cNvPr>
          <p:cNvSpPr/>
          <p:nvPr/>
        </p:nvSpPr>
        <p:spPr>
          <a:xfrm>
            <a:off x="3765586" y="634196"/>
            <a:ext cx="5257643" cy="1021948"/>
          </a:xfrm>
          <a:prstGeom prst="rect">
            <a:avLst/>
          </a:prstGeom>
          <a:solidFill>
            <a:srgbClr val="FFFFFF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Using data </a:t>
            </a:r>
            <a:r>
              <a:rPr kumimoji="0" lang="en-US" sz="1400" b="0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generated by </a:t>
            </a:r>
            <a:r>
              <a:rPr kumimoji="0" lang="en-US" sz="14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UnipolTech boxes </a:t>
            </a:r>
            <a:r>
              <a:rPr kumimoji="0" lang="en-US" sz="1400" b="0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and </a:t>
            </a:r>
            <a:r>
              <a:rPr kumimoji="0" lang="en-US" sz="14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academic studies </a:t>
            </a:r>
            <a:r>
              <a:rPr kumimoji="0" lang="en-US" sz="1400" b="0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on </a:t>
            </a:r>
            <a:r>
              <a:rPr kumimoji="0" lang="en-US" sz="14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CO</a:t>
            </a:r>
            <a:r>
              <a:rPr kumimoji="0" lang="en-US" sz="1400" b="1" i="0" u="none" strike="noStrike" kern="0" cap="none" spc="0" normalizeH="0" baseline="-2500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2</a:t>
            </a:r>
            <a:r>
              <a:rPr kumimoji="0" lang="en-US" sz="1400" b="0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 and </a:t>
            </a:r>
            <a:r>
              <a:rPr kumimoji="0" lang="en-US" sz="14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NO</a:t>
            </a:r>
            <a:r>
              <a:rPr kumimoji="0" lang="en-US" sz="1400" b="1" i="0" u="none" strike="noStrike" kern="0" cap="none" spc="0" normalizeH="0" baseline="-2500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x</a:t>
            </a:r>
            <a:r>
              <a:rPr kumimoji="0" lang="en-US" sz="1400" b="0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 </a:t>
            </a:r>
            <a:r>
              <a:rPr kumimoji="0" lang="en-US" sz="14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emissions </a:t>
            </a:r>
            <a:r>
              <a:rPr kumimoji="0" lang="en-US" sz="1400" b="0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we found that the </a:t>
            </a:r>
            <a:r>
              <a:rPr kumimoji="0" lang="en-US" sz="14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polluting class </a:t>
            </a:r>
            <a:r>
              <a:rPr kumimoji="0" lang="en-US" sz="1400" b="0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and the </a:t>
            </a:r>
            <a:r>
              <a:rPr kumimoji="0" lang="en-US" sz="14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number of km </a:t>
            </a:r>
            <a:r>
              <a:rPr kumimoji="0" lang="en-US" sz="1400" b="0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are </a:t>
            </a:r>
            <a:r>
              <a:rPr kumimoji="0" lang="en-US" sz="14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not sufficient </a:t>
            </a:r>
            <a:r>
              <a:rPr kumimoji="0" lang="en-US" sz="1400" b="0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to </a:t>
            </a:r>
            <a:r>
              <a:rPr kumimoji="0" lang="en-US" sz="14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measure actual pollution</a:t>
            </a:r>
            <a:endParaRPr kumimoji="0" lang="en-US" sz="1400" b="0" i="0" u="none" strike="noStrike" kern="0" cap="none" spc="0" normalizeH="0" baseline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B428C4FF-CC89-E12A-D3C4-BB5462FE85FE}"/>
              </a:ext>
            </a:extLst>
          </p:cNvPr>
          <p:cNvSpPr/>
          <p:nvPr/>
        </p:nvSpPr>
        <p:spPr>
          <a:xfrm>
            <a:off x="3765586" y="3853469"/>
            <a:ext cx="5257643" cy="756610"/>
          </a:xfrm>
          <a:prstGeom prst="rect">
            <a:avLst/>
          </a:prstGeom>
          <a:solidFill>
            <a:srgbClr val="FFFFFF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Using </a:t>
            </a:r>
            <a:r>
              <a:rPr kumimoji="0" lang="en-US" sz="14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AS IS </a:t>
            </a:r>
            <a:r>
              <a:rPr kumimoji="0" lang="en-US" sz="1400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telematic</a:t>
            </a:r>
            <a:r>
              <a:rPr kumimoji="0" lang="en-US" sz="14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 boxes</a:t>
            </a:r>
            <a:r>
              <a:rPr kumimoji="0" lang="en-US" sz="1400" b="0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, </a:t>
            </a:r>
            <a:r>
              <a:rPr kumimoji="0" lang="en-US" sz="1400" b="1" i="0" u="none" strike="noStrike" kern="0" cap="none" spc="0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UnipolTech</a:t>
            </a:r>
            <a:r>
              <a:rPr kumimoji="0" lang="en-US" sz="14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 </a:t>
            </a:r>
            <a:r>
              <a:rPr kumimoji="0" lang="en-US" sz="1400" b="0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is able to </a:t>
            </a:r>
            <a:r>
              <a:rPr kumimoji="0" lang="en-US" sz="14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provide municipalities </a:t>
            </a:r>
            <a:r>
              <a:rPr kumimoji="0" lang="en-US" sz="1400" b="0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with this </a:t>
            </a:r>
            <a:r>
              <a:rPr kumimoji="0" lang="en-US" sz="14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information</a:t>
            </a:r>
            <a:r>
              <a:rPr kumimoji="0" lang="en-US" sz="1400" b="0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, transforming "black boxes" into </a:t>
            </a:r>
            <a:r>
              <a:rPr kumimoji="0" lang="en-US" sz="14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"green boxes"</a:t>
            </a:r>
            <a:r>
              <a:rPr kumimoji="0" lang="en-US" sz="1400" b="0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 and </a:t>
            </a:r>
            <a:r>
              <a:rPr kumimoji="0" lang="en-US" sz="1400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making</a:t>
            </a:r>
            <a:r>
              <a:rPr kumimoji="0" lang="en-US" sz="14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 sustainability measures more effective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9B66C33A-3619-7CEA-F266-3CF9BF4530B9}"/>
              </a:ext>
            </a:extLst>
          </p:cNvPr>
          <p:cNvGrpSpPr/>
          <p:nvPr/>
        </p:nvGrpSpPr>
        <p:grpSpPr>
          <a:xfrm>
            <a:off x="3840141" y="1982249"/>
            <a:ext cx="5103017" cy="1579507"/>
            <a:chOff x="3821669" y="1973013"/>
            <a:chExt cx="5103017" cy="1579507"/>
          </a:xfrm>
        </p:grpSpPr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217EA725-CCD8-2A7F-77B0-D9475A2D364B}"/>
                </a:ext>
              </a:extLst>
            </p:cNvPr>
            <p:cNvSpPr/>
            <p:nvPr/>
          </p:nvSpPr>
          <p:spPr>
            <a:xfrm>
              <a:off x="3821669" y="1973013"/>
              <a:ext cx="5103017" cy="1579507"/>
            </a:xfrm>
            <a:custGeom>
              <a:avLst/>
              <a:gdLst>
                <a:gd name="connsiteX0" fmla="*/ 0 w 5103017"/>
                <a:gd name="connsiteY0" fmla="*/ 0 h 1579507"/>
                <a:gd name="connsiteX1" fmla="*/ 515972 w 5103017"/>
                <a:gd name="connsiteY1" fmla="*/ 0 h 1579507"/>
                <a:gd name="connsiteX2" fmla="*/ 1031943 w 5103017"/>
                <a:gd name="connsiteY2" fmla="*/ 0 h 1579507"/>
                <a:gd name="connsiteX3" fmla="*/ 1445855 w 5103017"/>
                <a:gd name="connsiteY3" fmla="*/ 0 h 1579507"/>
                <a:gd name="connsiteX4" fmla="*/ 2012857 w 5103017"/>
                <a:gd name="connsiteY4" fmla="*/ 0 h 1579507"/>
                <a:gd name="connsiteX5" fmla="*/ 2579859 w 5103017"/>
                <a:gd name="connsiteY5" fmla="*/ 0 h 1579507"/>
                <a:gd name="connsiteX6" fmla="*/ 2993770 w 5103017"/>
                <a:gd name="connsiteY6" fmla="*/ 0 h 1579507"/>
                <a:gd name="connsiteX7" fmla="*/ 3509742 w 5103017"/>
                <a:gd name="connsiteY7" fmla="*/ 0 h 1579507"/>
                <a:gd name="connsiteX8" fmla="*/ 3923653 w 5103017"/>
                <a:gd name="connsiteY8" fmla="*/ 0 h 1579507"/>
                <a:gd name="connsiteX9" fmla="*/ 4439625 w 5103017"/>
                <a:gd name="connsiteY9" fmla="*/ 0 h 1579507"/>
                <a:gd name="connsiteX10" fmla="*/ 5103017 w 5103017"/>
                <a:gd name="connsiteY10" fmla="*/ 0 h 1579507"/>
                <a:gd name="connsiteX11" fmla="*/ 5103017 w 5103017"/>
                <a:gd name="connsiteY11" fmla="*/ 526502 h 1579507"/>
                <a:gd name="connsiteX12" fmla="*/ 5103017 w 5103017"/>
                <a:gd name="connsiteY12" fmla="*/ 1068800 h 1579507"/>
                <a:gd name="connsiteX13" fmla="*/ 5103017 w 5103017"/>
                <a:gd name="connsiteY13" fmla="*/ 1579507 h 1579507"/>
                <a:gd name="connsiteX14" fmla="*/ 4484985 w 5103017"/>
                <a:gd name="connsiteY14" fmla="*/ 1579507 h 1579507"/>
                <a:gd name="connsiteX15" fmla="*/ 3866953 w 5103017"/>
                <a:gd name="connsiteY15" fmla="*/ 1579507 h 1579507"/>
                <a:gd name="connsiteX16" fmla="*/ 3197891 w 5103017"/>
                <a:gd name="connsiteY16" fmla="*/ 1579507 h 1579507"/>
                <a:gd name="connsiteX17" fmla="*/ 2630889 w 5103017"/>
                <a:gd name="connsiteY17" fmla="*/ 1579507 h 1579507"/>
                <a:gd name="connsiteX18" fmla="*/ 2165947 w 5103017"/>
                <a:gd name="connsiteY18" fmla="*/ 1579507 h 1579507"/>
                <a:gd name="connsiteX19" fmla="*/ 1547915 w 5103017"/>
                <a:gd name="connsiteY19" fmla="*/ 1579507 h 1579507"/>
                <a:gd name="connsiteX20" fmla="*/ 929883 w 5103017"/>
                <a:gd name="connsiteY20" fmla="*/ 1579507 h 1579507"/>
                <a:gd name="connsiteX21" fmla="*/ 0 w 5103017"/>
                <a:gd name="connsiteY21" fmla="*/ 1579507 h 1579507"/>
                <a:gd name="connsiteX22" fmla="*/ 0 w 5103017"/>
                <a:gd name="connsiteY22" fmla="*/ 1053005 h 1579507"/>
                <a:gd name="connsiteX23" fmla="*/ 0 w 5103017"/>
                <a:gd name="connsiteY23" fmla="*/ 542297 h 1579507"/>
                <a:gd name="connsiteX24" fmla="*/ 0 w 5103017"/>
                <a:gd name="connsiteY24" fmla="*/ 0 h 15795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5103017" h="1579507" fill="none" extrusionOk="0">
                  <a:moveTo>
                    <a:pt x="0" y="0"/>
                  </a:moveTo>
                  <a:cubicBezTo>
                    <a:pt x="182752" y="-39738"/>
                    <a:pt x="341040" y="12573"/>
                    <a:pt x="515972" y="0"/>
                  </a:cubicBezTo>
                  <a:cubicBezTo>
                    <a:pt x="690904" y="-12573"/>
                    <a:pt x="834050" y="45735"/>
                    <a:pt x="1031943" y="0"/>
                  </a:cubicBezTo>
                  <a:cubicBezTo>
                    <a:pt x="1229836" y="-45735"/>
                    <a:pt x="1335216" y="43416"/>
                    <a:pt x="1445855" y="0"/>
                  </a:cubicBezTo>
                  <a:cubicBezTo>
                    <a:pt x="1556494" y="-43416"/>
                    <a:pt x="1863084" y="11608"/>
                    <a:pt x="2012857" y="0"/>
                  </a:cubicBezTo>
                  <a:cubicBezTo>
                    <a:pt x="2162630" y="-11608"/>
                    <a:pt x="2354434" y="37416"/>
                    <a:pt x="2579859" y="0"/>
                  </a:cubicBezTo>
                  <a:cubicBezTo>
                    <a:pt x="2805284" y="-37416"/>
                    <a:pt x="2840487" y="13243"/>
                    <a:pt x="2993770" y="0"/>
                  </a:cubicBezTo>
                  <a:cubicBezTo>
                    <a:pt x="3147053" y="-13243"/>
                    <a:pt x="3299656" y="54256"/>
                    <a:pt x="3509742" y="0"/>
                  </a:cubicBezTo>
                  <a:cubicBezTo>
                    <a:pt x="3719828" y="-54256"/>
                    <a:pt x="3794795" y="48001"/>
                    <a:pt x="3923653" y="0"/>
                  </a:cubicBezTo>
                  <a:cubicBezTo>
                    <a:pt x="4052511" y="-48001"/>
                    <a:pt x="4216153" y="61130"/>
                    <a:pt x="4439625" y="0"/>
                  </a:cubicBezTo>
                  <a:cubicBezTo>
                    <a:pt x="4663097" y="-61130"/>
                    <a:pt x="4888988" y="5326"/>
                    <a:pt x="5103017" y="0"/>
                  </a:cubicBezTo>
                  <a:cubicBezTo>
                    <a:pt x="5112277" y="225139"/>
                    <a:pt x="5058427" y="320044"/>
                    <a:pt x="5103017" y="526502"/>
                  </a:cubicBezTo>
                  <a:cubicBezTo>
                    <a:pt x="5147607" y="732960"/>
                    <a:pt x="5097556" y="844090"/>
                    <a:pt x="5103017" y="1068800"/>
                  </a:cubicBezTo>
                  <a:cubicBezTo>
                    <a:pt x="5108478" y="1293510"/>
                    <a:pt x="5079935" y="1435202"/>
                    <a:pt x="5103017" y="1579507"/>
                  </a:cubicBezTo>
                  <a:cubicBezTo>
                    <a:pt x="4974312" y="1598613"/>
                    <a:pt x="4646001" y="1524318"/>
                    <a:pt x="4484985" y="1579507"/>
                  </a:cubicBezTo>
                  <a:cubicBezTo>
                    <a:pt x="4323969" y="1634696"/>
                    <a:pt x="4116977" y="1566895"/>
                    <a:pt x="3866953" y="1579507"/>
                  </a:cubicBezTo>
                  <a:cubicBezTo>
                    <a:pt x="3616929" y="1592119"/>
                    <a:pt x="3451463" y="1560180"/>
                    <a:pt x="3197891" y="1579507"/>
                  </a:cubicBezTo>
                  <a:cubicBezTo>
                    <a:pt x="2944319" y="1598834"/>
                    <a:pt x="2896094" y="1539176"/>
                    <a:pt x="2630889" y="1579507"/>
                  </a:cubicBezTo>
                  <a:cubicBezTo>
                    <a:pt x="2365684" y="1619838"/>
                    <a:pt x="2375996" y="1544585"/>
                    <a:pt x="2165947" y="1579507"/>
                  </a:cubicBezTo>
                  <a:cubicBezTo>
                    <a:pt x="1955898" y="1614429"/>
                    <a:pt x="1689154" y="1509158"/>
                    <a:pt x="1547915" y="1579507"/>
                  </a:cubicBezTo>
                  <a:cubicBezTo>
                    <a:pt x="1406676" y="1649856"/>
                    <a:pt x="1194878" y="1558143"/>
                    <a:pt x="929883" y="1579507"/>
                  </a:cubicBezTo>
                  <a:cubicBezTo>
                    <a:pt x="664888" y="1600871"/>
                    <a:pt x="344086" y="1575756"/>
                    <a:pt x="0" y="1579507"/>
                  </a:cubicBezTo>
                  <a:cubicBezTo>
                    <a:pt x="-37278" y="1458449"/>
                    <a:pt x="39017" y="1289476"/>
                    <a:pt x="0" y="1053005"/>
                  </a:cubicBezTo>
                  <a:cubicBezTo>
                    <a:pt x="-39017" y="816534"/>
                    <a:pt x="28807" y="763576"/>
                    <a:pt x="0" y="542297"/>
                  </a:cubicBezTo>
                  <a:cubicBezTo>
                    <a:pt x="-28807" y="321018"/>
                    <a:pt x="5436" y="160829"/>
                    <a:pt x="0" y="0"/>
                  </a:cubicBezTo>
                  <a:close/>
                </a:path>
                <a:path w="5103017" h="1579507" stroke="0" extrusionOk="0">
                  <a:moveTo>
                    <a:pt x="0" y="0"/>
                  </a:moveTo>
                  <a:cubicBezTo>
                    <a:pt x="144705" y="-32349"/>
                    <a:pt x="472582" y="22587"/>
                    <a:pt x="618032" y="0"/>
                  </a:cubicBezTo>
                  <a:cubicBezTo>
                    <a:pt x="763482" y="-22587"/>
                    <a:pt x="850798" y="8692"/>
                    <a:pt x="1031943" y="0"/>
                  </a:cubicBezTo>
                  <a:cubicBezTo>
                    <a:pt x="1213088" y="-8692"/>
                    <a:pt x="1394857" y="42807"/>
                    <a:pt x="1547915" y="0"/>
                  </a:cubicBezTo>
                  <a:cubicBezTo>
                    <a:pt x="1700973" y="-42807"/>
                    <a:pt x="1879343" y="18239"/>
                    <a:pt x="2012857" y="0"/>
                  </a:cubicBezTo>
                  <a:cubicBezTo>
                    <a:pt x="2146371" y="-18239"/>
                    <a:pt x="2280598" y="1223"/>
                    <a:pt x="2528828" y="0"/>
                  </a:cubicBezTo>
                  <a:cubicBezTo>
                    <a:pt x="2777058" y="-1223"/>
                    <a:pt x="2826982" y="48870"/>
                    <a:pt x="2993770" y="0"/>
                  </a:cubicBezTo>
                  <a:cubicBezTo>
                    <a:pt x="3160558" y="-48870"/>
                    <a:pt x="3386081" y="36394"/>
                    <a:pt x="3560772" y="0"/>
                  </a:cubicBezTo>
                  <a:cubicBezTo>
                    <a:pt x="3735463" y="-36394"/>
                    <a:pt x="3899133" y="20696"/>
                    <a:pt x="4076744" y="0"/>
                  </a:cubicBezTo>
                  <a:cubicBezTo>
                    <a:pt x="4254355" y="-20696"/>
                    <a:pt x="4422179" y="53582"/>
                    <a:pt x="4541685" y="0"/>
                  </a:cubicBezTo>
                  <a:cubicBezTo>
                    <a:pt x="4661191" y="-53582"/>
                    <a:pt x="4838338" y="65203"/>
                    <a:pt x="5103017" y="0"/>
                  </a:cubicBezTo>
                  <a:cubicBezTo>
                    <a:pt x="5111622" y="224035"/>
                    <a:pt x="5091499" y="392573"/>
                    <a:pt x="5103017" y="542297"/>
                  </a:cubicBezTo>
                  <a:cubicBezTo>
                    <a:pt x="5114535" y="692021"/>
                    <a:pt x="5043726" y="828213"/>
                    <a:pt x="5103017" y="1100390"/>
                  </a:cubicBezTo>
                  <a:cubicBezTo>
                    <a:pt x="5162308" y="1372567"/>
                    <a:pt x="5066923" y="1421490"/>
                    <a:pt x="5103017" y="1579507"/>
                  </a:cubicBezTo>
                  <a:cubicBezTo>
                    <a:pt x="4962144" y="1625288"/>
                    <a:pt x="4693751" y="1551776"/>
                    <a:pt x="4536015" y="1579507"/>
                  </a:cubicBezTo>
                  <a:cubicBezTo>
                    <a:pt x="4378279" y="1607238"/>
                    <a:pt x="4214315" y="1536152"/>
                    <a:pt x="4122104" y="1579507"/>
                  </a:cubicBezTo>
                  <a:cubicBezTo>
                    <a:pt x="4029893" y="1622862"/>
                    <a:pt x="3777137" y="1526739"/>
                    <a:pt x="3504072" y="1579507"/>
                  </a:cubicBezTo>
                  <a:cubicBezTo>
                    <a:pt x="3231007" y="1632275"/>
                    <a:pt x="3205424" y="1553010"/>
                    <a:pt x="2988100" y="1579507"/>
                  </a:cubicBezTo>
                  <a:cubicBezTo>
                    <a:pt x="2770776" y="1606004"/>
                    <a:pt x="2738043" y="1525245"/>
                    <a:pt x="2523158" y="1579507"/>
                  </a:cubicBezTo>
                  <a:cubicBezTo>
                    <a:pt x="2308273" y="1633769"/>
                    <a:pt x="2114617" y="1544259"/>
                    <a:pt x="1905126" y="1579507"/>
                  </a:cubicBezTo>
                  <a:cubicBezTo>
                    <a:pt x="1695635" y="1614755"/>
                    <a:pt x="1664493" y="1531234"/>
                    <a:pt x="1440185" y="1579507"/>
                  </a:cubicBezTo>
                  <a:cubicBezTo>
                    <a:pt x="1215877" y="1627780"/>
                    <a:pt x="1081242" y="1574601"/>
                    <a:pt x="924213" y="1579507"/>
                  </a:cubicBezTo>
                  <a:cubicBezTo>
                    <a:pt x="767184" y="1584413"/>
                    <a:pt x="217513" y="1553512"/>
                    <a:pt x="0" y="1579507"/>
                  </a:cubicBezTo>
                  <a:cubicBezTo>
                    <a:pt x="-2938" y="1456151"/>
                    <a:pt x="35585" y="1219697"/>
                    <a:pt x="0" y="1068800"/>
                  </a:cubicBezTo>
                  <a:cubicBezTo>
                    <a:pt x="-35585" y="917903"/>
                    <a:pt x="22600" y="782486"/>
                    <a:pt x="0" y="573888"/>
                  </a:cubicBezTo>
                  <a:cubicBezTo>
                    <a:pt x="-22600" y="365290"/>
                    <a:pt x="55179" y="267651"/>
                    <a:pt x="0" y="0"/>
                  </a:cubicBezTo>
                  <a:close/>
                </a:path>
              </a:pathLst>
            </a:custGeom>
            <a:solidFill>
              <a:srgbClr val="FFFFFF"/>
            </a:solidFill>
            <a:ln w="25400" cap="flat" cmpd="sng" algn="ctr">
              <a:solidFill>
                <a:srgbClr val="CDE6FF"/>
              </a:solidFill>
              <a:prstDash val="solid"/>
              <a:extLst>
                <a:ext uri="{C807C97D-BFC1-408E-A445-0C87EB9F89A2}">
                  <ask:lineSketchStyleProps xmlns:ask="http://schemas.microsoft.com/office/drawing/2018/sketchyshapes" sd="1721000710">
                    <a:prstGeom prst="rect">
                      <a:avLst/>
                    </a:prstGeom>
                    <ask:type>
                      <ask:lineSketchScribble/>
                    </ask:type>
                  </ask:lineSketchStyleProps>
                </a:ext>
              </a:extLst>
            </a:ln>
            <a:effectLst/>
          </p:spPr>
          <p:txBody>
            <a:bodyPr tIns="180000" rtlCol="0" anchor="t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dirty="0">
                  <a:ln>
                    <a:noFill/>
                  </a:ln>
                  <a:solidFill>
                    <a:srgbClr val="004890"/>
                  </a:solidFill>
                  <a:effectLst/>
                  <a:uLnTx/>
                  <a:uFillTx/>
                  <a:ea typeface="+mn-ea"/>
                  <a:cs typeface="+mn-cs"/>
                </a:rPr>
                <a:t>Key elements </a:t>
              </a:r>
              <a:r>
                <a:rPr kumimoji="0" lang="en-US" sz="1400" i="0" u="none" strike="noStrike" kern="0" cap="none" spc="0" normalizeH="0" baseline="0" dirty="0">
                  <a:ln>
                    <a:noFill/>
                  </a:ln>
                  <a:solidFill>
                    <a:srgbClr val="004890"/>
                  </a:solidFill>
                  <a:effectLst/>
                  <a:uLnTx/>
                  <a:uFillTx/>
                  <a:ea typeface="+mn-ea"/>
                  <a:cs typeface="+mn-cs"/>
                </a:rPr>
                <a:t>for </a:t>
              </a:r>
              <a:r>
                <a:rPr kumimoji="0" lang="en-US" sz="1400" b="1" i="0" u="none" strike="noStrike" kern="0" cap="none" spc="0" normalizeH="0" baseline="0" dirty="0">
                  <a:ln>
                    <a:noFill/>
                  </a:ln>
                  <a:solidFill>
                    <a:srgbClr val="004890"/>
                  </a:solidFill>
                  <a:effectLst/>
                  <a:uLnTx/>
                  <a:uFillTx/>
                  <a:ea typeface="+mn-ea"/>
                  <a:cs typeface="+mn-cs"/>
                </a:rPr>
                <a:t>measuring actual pollution </a:t>
              </a:r>
              <a:r>
                <a:rPr kumimoji="0" lang="en-US" sz="1400" i="0" u="none" strike="noStrike" kern="0" cap="none" spc="0" normalizeH="0" baseline="0" dirty="0">
                  <a:ln>
                    <a:noFill/>
                  </a:ln>
                  <a:solidFill>
                    <a:srgbClr val="004890"/>
                  </a:solidFill>
                  <a:effectLst/>
                  <a:uLnTx/>
                  <a:uFillTx/>
                  <a:ea typeface="+mn-ea"/>
                  <a:cs typeface="+mn-cs"/>
                </a:rPr>
                <a:t>are also:</a:t>
              </a:r>
            </a:p>
          </p:txBody>
        </p:sp>
        <p:grpSp>
          <p:nvGrpSpPr>
            <p:cNvPr id="13" name="Group 12">
              <a:extLst>
                <a:ext uri="{FF2B5EF4-FFF2-40B4-BE49-F238E27FC236}">
                  <a16:creationId xmlns:a16="http://schemas.microsoft.com/office/drawing/2014/main" id="{D8C1819C-6A74-A2C4-FEB8-3EB7364D1B0F}"/>
                </a:ext>
              </a:extLst>
            </p:cNvPr>
            <p:cNvGrpSpPr/>
            <p:nvPr/>
          </p:nvGrpSpPr>
          <p:grpSpPr>
            <a:xfrm>
              <a:off x="4040949" y="2398759"/>
              <a:ext cx="4530876" cy="1039990"/>
              <a:chOff x="5259674" y="3213592"/>
              <a:chExt cx="6090901" cy="1398069"/>
            </a:xfrm>
          </p:grpSpPr>
          <p:grpSp>
            <p:nvGrpSpPr>
              <p:cNvPr id="14" name="Group 13">
                <a:extLst>
                  <a:ext uri="{FF2B5EF4-FFF2-40B4-BE49-F238E27FC236}">
                    <a16:creationId xmlns:a16="http://schemas.microsoft.com/office/drawing/2014/main" id="{6A9EDA74-08CD-300B-255E-75888349FD06}"/>
                  </a:ext>
                </a:extLst>
              </p:cNvPr>
              <p:cNvGrpSpPr/>
              <p:nvPr/>
            </p:nvGrpSpPr>
            <p:grpSpPr>
              <a:xfrm>
                <a:off x="5506882" y="3226218"/>
                <a:ext cx="2558473" cy="798926"/>
                <a:chOff x="5338678" y="3262314"/>
                <a:chExt cx="2558473" cy="798926"/>
              </a:xfrm>
            </p:grpSpPr>
            <p:sp>
              <p:nvSpPr>
                <p:cNvPr id="26" name="Rectangle 25">
                  <a:extLst>
                    <a:ext uri="{FF2B5EF4-FFF2-40B4-BE49-F238E27FC236}">
                      <a16:creationId xmlns:a16="http://schemas.microsoft.com/office/drawing/2014/main" id="{F7F5BF15-C0A9-BD03-411F-0ECE7E053EA1}"/>
                    </a:ext>
                  </a:extLst>
                </p:cNvPr>
                <p:cNvSpPr/>
                <p:nvPr/>
              </p:nvSpPr>
              <p:spPr>
                <a:xfrm>
                  <a:off x="5915490" y="3415809"/>
                  <a:ext cx="1981661" cy="491936"/>
                </a:xfrm>
                <a:prstGeom prst="rect">
                  <a:avLst/>
                </a:prstGeom>
                <a:solidFill>
                  <a:srgbClr val="FFFFFF"/>
                </a:solidFill>
                <a:ln w="25400" cap="flat" cmpd="sng" algn="ctr">
                  <a:solidFill>
                    <a:srgbClr val="004890"/>
                  </a:solidFill>
                  <a:prstDash val="solid"/>
                  <a:extLst>
                    <a:ext uri="{C807C97D-BFC1-408E-A445-0C87EB9F89A2}">
                      <ask:lineSketchStyleProps xmlns:ask="http://schemas.microsoft.com/office/drawing/2018/sketchyshapes" sd="1721000710">
                        <a:custGeom>
                          <a:avLst/>
                          <a:gdLst>
                            <a:gd name="connsiteX0" fmla="*/ 0 w 1981661"/>
                            <a:gd name="connsiteY0" fmla="*/ 0 h 491936"/>
                            <a:gd name="connsiteX1" fmla="*/ 495415 w 1981661"/>
                            <a:gd name="connsiteY1" fmla="*/ 0 h 491936"/>
                            <a:gd name="connsiteX2" fmla="*/ 990831 w 1981661"/>
                            <a:gd name="connsiteY2" fmla="*/ 0 h 491936"/>
                            <a:gd name="connsiteX3" fmla="*/ 1426796 w 1981661"/>
                            <a:gd name="connsiteY3" fmla="*/ 0 h 491936"/>
                            <a:gd name="connsiteX4" fmla="*/ 1981661 w 1981661"/>
                            <a:gd name="connsiteY4" fmla="*/ 0 h 491936"/>
                            <a:gd name="connsiteX5" fmla="*/ 1981661 w 1981661"/>
                            <a:gd name="connsiteY5" fmla="*/ 491936 h 491936"/>
                            <a:gd name="connsiteX6" fmla="*/ 1525879 w 1981661"/>
                            <a:gd name="connsiteY6" fmla="*/ 491936 h 491936"/>
                            <a:gd name="connsiteX7" fmla="*/ 1030464 w 1981661"/>
                            <a:gd name="connsiteY7" fmla="*/ 491936 h 491936"/>
                            <a:gd name="connsiteX8" fmla="*/ 495415 w 1981661"/>
                            <a:gd name="connsiteY8" fmla="*/ 491936 h 491936"/>
                            <a:gd name="connsiteX9" fmla="*/ 0 w 1981661"/>
                            <a:gd name="connsiteY9" fmla="*/ 491936 h 491936"/>
                            <a:gd name="connsiteX10" fmla="*/ 0 w 1981661"/>
                            <a:gd name="connsiteY10" fmla="*/ 0 h 491936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  <a:cxn ang="0">
                              <a:pos x="connsiteX9" y="connsiteY9"/>
                            </a:cxn>
                            <a:cxn ang="0">
                              <a:pos x="connsiteX10" y="connsiteY10"/>
                            </a:cxn>
                          </a:cxnLst>
                          <a:rect l="l" t="t" r="r" b="b"/>
                          <a:pathLst>
                            <a:path w="1981661" h="491936" fill="none" extrusionOk="0">
                              <a:moveTo>
                                <a:pt x="0" y="0"/>
                              </a:moveTo>
                              <a:cubicBezTo>
                                <a:pt x="140252" y="-36774"/>
                                <a:pt x="250903" y="42810"/>
                                <a:pt x="495415" y="0"/>
                              </a:cubicBezTo>
                              <a:cubicBezTo>
                                <a:pt x="739928" y="-42810"/>
                                <a:pt x="748643" y="6936"/>
                                <a:pt x="990831" y="0"/>
                              </a:cubicBezTo>
                              <a:cubicBezTo>
                                <a:pt x="1233019" y="-6936"/>
                                <a:pt x="1304862" y="9362"/>
                                <a:pt x="1426796" y="0"/>
                              </a:cubicBezTo>
                              <a:cubicBezTo>
                                <a:pt x="1548731" y="-9362"/>
                                <a:pt x="1802588" y="64896"/>
                                <a:pt x="1981661" y="0"/>
                              </a:cubicBezTo>
                              <a:cubicBezTo>
                                <a:pt x="2037075" y="166207"/>
                                <a:pt x="1971217" y="297710"/>
                                <a:pt x="1981661" y="491936"/>
                              </a:cubicBezTo>
                              <a:cubicBezTo>
                                <a:pt x="1855234" y="518237"/>
                                <a:pt x="1722530" y="467996"/>
                                <a:pt x="1525879" y="491936"/>
                              </a:cubicBezTo>
                              <a:cubicBezTo>
                                <a:pt x="1329228" y="515876"/>
                                <a:pt x="1185559" y="463242"/>
                                <a:pt x="1030464" y="491936"/>
                              </a:cubicBezTo>
                              <a:cubicBezTo>
                                <a:pt x="875369" y="520630"/>
                                <a:pt x="732657" y="476639"/>
                                <a:pt x="495415" y="491936"/>
                              </a:cubicBezTo>
                              <a:cubicBezTo>
                                <a:pt x="258173" y="507233"/>
                                <a:pt x="172045" y="433802"/>
                                <a:pt x="0" y="491936"/>
                              </a:cubicBezTo>
                              <a:cubicBezTo>
                                <a:pt x="-43307" y="273132"/>
                                <a:pt x="37602" y="100544"/>
                                <a:pt x="0" y="0"/>
                              </a:cubicBezTo>
                              <a:close/>
                            </a:path>
                            <a:path w="1981661" h="491936" stroke="0" extrusionOk="0">
                              <a:moveTo>
                                <a:pt x="0" y="0"/>
                              </a:moveTo>
                              <a:cubicBezTo>
                                <a:pt x="235869" y="-11767"/>
                                <a:pt x="399339" y="38106"/>
                                <a:pt x="515232" y="0"/>
                              </a:cubicBezTo>
                              <a:cubicBezTo>
                                <a:pt x="631125" y="-38106"/>
                                <a:pt x="818939" y="30613"/>
                                <a:pt x="951197" y="0"/>
                              </a:cubicBezTo>
                              <a:cubicBezTo>
                                <a:pt x="1083456" y="-30613"/>
                                <a:pt x="1248695" y="33911"/>
                                <a:pt x="1426796" y="0"/>
                              </a:cubicBezTo>
                              <a:cubicBezTo>
                                <a:pt x="1604897" y="-33911"/>
                                <a:pt x="1763483" y="56317"/>
                                <a:pt x="1981661" y="0"/>
                              </a:cubicBezTo>
                              <a:cubicBezTo>
                                <a:pt x="2036064" y="124383"/>
                                <a:pt x="1970323" y="250461"/>
                                <a:pt x="1981661" y="491936"/>
                              </a:cubicBezTo>
                              <a:cubicBezTo>
                                <a:pt x="1845793" y="504931"/>
                                <a:pt x="1670551" y="482852"/>
                                <a:pt x="1525879" y="491936"/>
                              </a:cubicBezTo>
                              <a:cubicBezTo>
                                <a:pt x="1381207" y="501020"/>
                                <a:pt x="1147652" y="451527"/>
                                <a:pt x="1030464" y="491936"/>
                              </a:cubicBezTo>
                              <a:cubicBezTo>
                                <a:pt x="913276" y="532345"/>
                                <a:pt x="706315" y="462978"/>
                                <a:pt x="515232" y="491936"/>
                              </a:cubicBezTo>
                              <a:cubicBezTo>
                                <a:pt x="324149" y="520894"/>
                                <a:pt x="223522" y="477580"/>
                                <a:pt x="0" y="491936"/>
                              </a:cubicBezTo>
                              <a:cubicBezTo>
                                <a:pt x="-3041" y="279513"/>
                                <a:pt x="27595" y="158545"/>
                                <a:pt x="0" y="0"/>
                              </a:cubicBezTo>
                              <a:close/>
                            </a:path>
                          </a:pathLst>
                        </a:custGeom>
                        <ask:type>
                          <ask:lineSketchNone/>
                        </ask:type>
                      </ask:lineSketchStyleProps>
                    </a:ext>
                  </a:extLst>
                </a:ln>
                <a:effectLst/>
              </p:spPr>
              <p:txBody>
                <a:bodyPr lIns="252000" tIns="36000" bIns="36000"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it-IT" sz="1200" b="1" i="0" u="none" strike="noStrike" kern="0" cap="none" spc="0" normalizeH="0" baseline="0" dirty="0" err="1">
                      <a:ln>
                        <a:noFill/>
                      </a:ln>
                      <a:solidFill>
                        <a:srgbClr val="004890"/>
                      </a:solidFill>
                      <a:effectLst/>
                      <a:uLnTx/>
                      <a:uFillTx/>
                      <a:ea typeface="+mn-ea"/>
                      <a:cs typeface="+mn-cs"/>
                    </a:rPr>
                    <a:t>Average</a:t>
                  </a:r>
                  <a:r>
                    <a:rPr kumimoji="0" lang="it-IT" sz="1200" b="1" i="0" u="none" strike="noStrike" kern="0" cap="none" spc="0" normalizeH="0" baseline="0" dirty="0">
                      <a:ln>
                        <a:noFill/>
                      </a:ln>
                      <a:solidFill>
                        <a:srgbClr val="004890"/>
                      </a:solidFill>
                      <a:effectLst/>
                      <a:uLnTx/>
                      <a:uFillTx/>
                      <a:ea typeface="+mn-ea"/>
                      <a:cs typeface="+mn-cs"/>
                    </a:rPr>
                    <a:t> speed</a:t>
                  </a:r>
                  <a:endParaRPr kumimoji="0" lang="it-IT" sz="1100" b="0" i="0" u="none" strike="noStrike" kern="0" cap="none" spc="0" normalizeH="0" baseline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ea typeface="+mn-ea"/>
                    <a:cs typeface="+mn-cs"/>
                  </a:endParaRPr>
                </a:p>
              </p:txBody>
            </p:sp>
            <p:grpSp>
              <p:nvGrpSpPr>
                <p:cNvPr id="27" name="Group 26">
                  <a:extLst>
                    <a:ext uri="{FF2B5EF4-FFF2-40B4-BE49-F238E27FC236}">
                      <a16:creationId xmlns:a16="http://schemas.microsoft.com/office/drawing/2014/main" id="{B229B881-D058-474C-6B0F-ECB3B32D6C43}"/>
                    </a:ext>
                  </a:extLst>
                </p:cNvPr>
                <p:cNvGrpSpPr/>
                <p:nvPr/>
              </p:nvGrpSpPr>
              <p:grpSpPr>
                <a:xfrm>
                  <a:off x="5338678" y="3262314"/>
                  <a:ext cx="798927" cy="798926"/>
                  <a:chOff x="6850571" y="3508032"/>
                  <a:chExt cx="798927" cy="798926"/>
                </a:xfrm>
              </p:grpSpPr>
              <p:sp>
                <p:nvSpPr>
                  <p:cNvPr id="28" name="Oval 56">
                    <a:extLst>
                      <a:ext uri="{FF2B5EF4-FFF2-40B4-BE49-F238E27FC236}">
                        <a16:creationId xmlns:a16="http://schemas.microsoft.com/office/drawing/2014/main" id="{8CCBD90E-71B9-9848-E92D-DFDEE49FBAA5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gray">
                  <a:xfrm>
                    <a:off x="6850571" y="3508032"/>
                    <a:ext cx="798927" cy="798926"/>
                  </a:xfrm>
                  <a:prstGeom prst="ellipse">
                    <a:avLst/>
                  </a:prstGeom>
                  <a:solidFill>
                    <a:srgbClr val="FFFFFF"/>
                  </a:solidFill>
                  <a:ln w="28575" algn="ctr">
                    <a:solidFill>
                      <a:srgbClr val="004890"/>
                    </a:solidFill>
                    <a:miter lim="800000"/>
                    <a:headEnd/>
                    <a:tailEnd/>
                    <a:extLst>
                      <a:ext uri="{C807C97D-BFC1-408E-A445-0C87EB9F89A2}">
                        <ask:lineSketchStyleProps xmlns:ask="http://schemas.microsoft.com/office/drawing/2018/sketchyshapes" sd="3583698021">
                          <a:custGeom>
                            <a:avLst/>
                            <a:gdLst>
                              <a:gd name="connsiteX0" fmla="*/ 0 w 798927"/>
                              <a:gd name="connsiteY0" fmla="*/ 399463 h 798926"/>
                              <a:gd name="connsiteX1" fmla="*/ 399464 w 798927"/>
                              <a:gd name="connsiteY1" fmla="*/ 0 h 798926"/>
                              <a:gd name="connsiteX2" fmla="*/ 798928 w 798927"/>
                              <a:gd name="connsiteY2" fmla="*/ 399463 h 798926"/>
                              <a:gd name="connsiteX3" fmla="*/ 399464 w 798927"/>
                              <a:gd name="connsiteY3" fmla="*/ 798926 h 798926"/>
                              <a:gd name="connsiteX4" fmla="*/ 0 w 798927"/>
                              <a:gd name="connsiteY4" fmla="*/ 399463 h 798926"/>
                            </a:gdLst>
                            <a:ahLst/>
                            <a:cxnLst>
                              <a:cxn ang="0">
                                <a:pos x="connsiteX0" y="connsiteY0"/>
                              </a:cxn>
                              <a:cxn ang="0">
                                <a:pos x="connsiteX1" y="connsiteY1"/>
                              </a:cxn>
                              <a:cxn ang="0">
                                <a:pos x="connsiteX2" y="connsiteY2"/>
                              </a:cxn>
                              <a:cxn ang="0">
                                <a:pos x="connsiteX3" y="connsiteY3"/>
                              </a:cxn>
                              <a:cxn ang="0">
                                <a:pos x="connsiteX4" y="connsiteY4"/>
                              </a:cxn>
                            </a:cxnLst>
                            <a:rect l="l" t="t" r="r" b="b"/>
                            <a:pathLst>
                              <a:path w="798927" h="798926" fill="none" extrusionOk="0">
                                <a:moveTo>
                                  <a:pt x="0" y="399463"/>
                                </a:moveTo>
                                <a:cubicBezTo>
                                  <a:pt x="-16120" y="179195"/>
                                  <a:pt x="223671" y="-6514"/>
                                  <a:pt x="399464" y="0"/>
                                </a:cubicBezTo>
                                <a:cubicBezTo>
                                  <a:pt x="629368" y="-23037"/>
                                  <a:pt x="802668" y="189141"/>
                                  <a:pt x="798928" y="399463"/>
                                </a:cubicBezTo>
                                <a:cubicBezTo>
                                  <a:pt x="775823" y="667620"/>
                                  <a:pt x="596912" y="754964"/>
                                  <a:pt x="399464" y="798926"/>
                                </a:cubicBezTo>
                                <a:cubicBezTo>
                                  <a:pt x="234442" y="784453"/>
                                  <a:pt x="26505" y="618941"/>
                                  <a:pt x="0" y="399463"/>
                                </a:cubicBezTo>
                                <a:close/>
                              </a:path>
                              <a:path w="798927" h="798926" stroke="0" extrusionOk="0">
                                <a:moveTo>
                                  <a:pt x="0" y="399463"/>
                                </a:moveTo>
                                <a:cubicBezTo>
                                  <a:pt x="34706" y="136688"/>
                                  <a:pt x="168029" y="2097"/>
                                  <a:pt x="399464" y="0"/>
                                </a:cubicBezTo>
                                <a:cubicBezTo>
                                  <a:pt x="661868" y="-19139"/>
                                  <a:pt x="814799" y="186572"/>
                                  <a:pt x="798928" y="399463"/>
                                </a:cubicBezTo>
                                <a:cubicBezTo>
                                  <a:pt x="791729" y="558347"/>
                                  <a:pt x="604924" y="757427"/>
                                  <a:pt x="399464" y="798926"/>
                                </a:cubicBezTo>
                                <a:cubicBezTo>
                                  <a:pt x="185672" y="792737"/>
                                  <a:pt x="4746" y="588957"/>
                                  <a:pt x="0" y="399463"/>
                                </a:cubicBezTo>
                                <a:close/>
                              </a:path>
                            </a:pathLst>
                          </a:custGeom>
                          <ask:type>
                            <ask:lineSketchNone/>
                          </ask:type>
                        </ask:lineSketchStyleProps>
                      </a:ext>
                    </a:extLst>
                  </a:ln>
                </p:spPr>
                <p:txBody>
                  <a:bodyPr wrap="square" lIns="88818" tIns="88818" rIns="88818" bIns="88818"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6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it-IT" sz="1000" b="1" i="0" u="none" strike="noStrike" kern="0" cap="none" spc="0" normalizeH="0" baseline="0">
                      <a:ln>
                        <a:noFill/>
                      </a:ln>
                      <a:solidFill>
                        <a:srgbClr val="0F3250"/>
                      </a:solidFill>
                      <a:effectLst/>
                      <a:uLnTx/>
                      <a:uFillTx/>
                      <a:cs typeface="Calibri" panose="020F0502020204030204" pitchFamily="34" charset="0"/>
                    </a:endParaRPr>
                  </a:p>
                </p:txBody>
              </p:sp>
              <p:pic>
                <p:nvPicPr>
                  <p:cNvPr id="30" name="Elemento grafico 94" descr="Misuratore contorno">
                    <a:extLst>
                      <a:ext uri="{FF2B5EF4-FFF2-40B4-BE49-F238E27FC236}">
                        <a16:creationId xmlns:a16="http://schemas.microsoft.com/office/drawing/2014/main" id="{F6205691-C38B-3E6B-92C3-C1C3A9A4B76B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6" cstate="print">
                    <a:extLst>
                      <a:ext uri="{28A0092B-C50C-407E-A947-70E740481C1C}">
                        <a14:useLocalDpi xmlns:a14="http://schemas.microsoft.com/office/drawing/2010/main"/>
                      </a:ext>
                      <a:ext uri="{96DAC541-7B7A-43D3-8B79-37D633B846F1}">
                        <asvg:svgBlip xmlns:asvg="http://schemas.microsoft.com/office/drawing/2016/SVG/main" r:embed="rId7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6922651" y="3531984"/>
                    <a:ext cx="654766" cy="654766"/>
                  </a:xfrm>
                  <a:prstGeom prst="rect">
                    <a:avLst/>
                  </a:prstGeom>
                </p:spPr>
              </p:pic>
            </p:grpSp>
          </p:grpSp>
          <p:grpSp>
            <p:nvGrpSpPr>
              <p:cNvPr id="15" name="Group 14">
                <a:extLst>
                  <a:ext uri="{FF2B5EF4-FFF2-40B4-BE49-F238E27FC236}">
                    <a16:creationId xmlns:a16="http://schemas.microsoft.com/office/drawing/2014/main" id="{A2017CD8-A037-9567-9C4E-2CC49D57181F}"/>
                  </a:ext>
                </a:extLst>
              </p:cNvPr>
              <p:cNvGrpSpPr/>
              <p:nvPr/>
            </p:nvGrpSpPr>
            <p:grpSpPr>
              <a:xfrm>
                <a:off x="8724473" y="3226218"/>
                <a:ext cx="2558473" cy="798926"/>
                <a:chOff x="9049861" y="3262314"/>
                <a:chExt cx="2558473" cy="798926"/>
              </a:xfrm>
            </p:grpSpPr>
            <p:sp>
              <p:nvSpPr>
                <p:cNvPr id="19" name="Rectangle 18">
                  <a:extLst>
                    <a:ext uri="{FF2B5EF4-FFF2-40B4-BE49-F238E27FC236}">
                      <a16:creationId xmlns:a16="http://schemas.microsoft.com/office/drawing/2014/main" id="{A9C0DF47-CF07-D0D3-80D1-0FDF0C102A62}"/>
                    </a:ext>
                  </a:extLst>
                </p:cNvPr>
                <p:cNvSpPr/>
                <p:nvPr/>
              </p:nvSpPr>
              <p:spPr>
                <a:xfrm>
                  <a:off x="9626673" y="3415809"/>
                  <a:ext cx="1981661" cy="491936"/>
                </a:xfrm>
                <a:prstGeom prst="rect">
                  <a:avLst/>
                </a:prstGeom>
                <a:solidFill>
                  <a:srgbClr val="FFFFFF"/>
                </a:solidFill>
                <a:ln w="25400" cap="flat" cmpd="sng" algn="ctr">
                  <a:solidFill>
                    <a:srgbClr val="004890"/>
                  </a:solidFill>
                  <a:prstDash val="solid"/>
                  <a:extLst>
                    <a:ext uri="{C807C97D-BFC1-408E-A445-0C87EB9F89A2}">
                      <ask:lineSketchStyleProps xmlns:ask="http://schemas.microsoft.com/office/drawing/2018/sketchyshapes" sd="1721000710">
                        <a:custGeom>
                          <a:avLst/>
                          <a:gdLst>
                            <a:gd name="connsiteX0" fmla="*/ 0 w 1981661"/>
                            <a:gd name="connsiteY0" fmla="*/ 0 h 491936"/>
                            <a:gd name="connsiteX1" fmla="*/ 495415 w 1981661"/>
                            <a:gd name="connsiteY1" fmla="*/ 0 h 491936"/>
                            <a:gd name="connsiteX2" fmla="*/ 990831 w 1981661"/>
                            <a:gd name="connsiteY2" fmla="*/ 0 h 491936"/>
                            <a:gd name="connsiteX3" fmla="*/ 1426796 w 1981661"/>
                            <a:gd name="connsiteY3" fmla="*/ 0 h 491936"/>
                            <a:gd name="connsiteX4" fmla="*/ 1981661 w 1981661"/>
                            <a:gd name="connsiteY4" fmla="*/ 0 h 491936"/>
                            <a:gd name="connsiteX5" fmla="*/ 1981661 w 1981661"/>
                            <a:gd name="connsiteY5" fmla="*/ 491936 h 491936"/>
                            <a:gd name="connsiteX6" fmla="*/ 1525879 w 1981661"/>
                            <a:gd name="connsiteY6" fmla="*/ 491936 h 491936"/>
                            <a:gd name="connsiteX7" fmla="*/ 1030464 w 1981661"/>
                            <a:gd name="connsiteY7" fmla="*/ 491936 h 491936"/>
                            <a:gd name="connsiteX8" fmla="*/ 495415 w 1981661"/>
                            <a:gd name="connsiteY8" fmla="*/ 491936 h 491936"/>
                            <a:gd name="connsiteX9" fmla="*/ 0 w 1981661"/>
                            <a:gd name="connsiteY9" fmla="*/ 491936 h 491936"/>
                            <a:gd name="connsiteX10" fmla="*/ 0 w 1981661"/>
                            <a:gd name="connsiteY10" fmla="*/ 0 h 491936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  <a:cxn ang="0">
                              <a:pos x="connsiteX9" y="connsiteY9"/>
                            </a:cxn>
                            <a:cxn ang="0">
                              <a:pos x="connsiteX10" y="connsiteY10"/>
                            </a:cxn>
                          </a:cxnLst>
                          <a:rect l="l" t="t" r="r" b="b"/>
                          <a:pathLst>
                            <a:path w="1981661" h="491936" fill="none" extrusionOk="0">
                              <a:moveTo>
                                <a:pt x="0" y="0"/>
                              </a:moveTo>
                              <a:cubicBezTo>
                                <a:pt x="140252" y="-36774"/>
                                <a:pt x="250903" y="42810"/>
                                <a:pt x="495415" y="0"/>
                              </a:cubicBezTo>
                              <a:cubicBezTo>
                                <a:pt x="739928" y="-42810"/>
                                <a:pt x="748643" y="6936"/>
                                <a:pt x="990831" y="0"/>
                              </a:cubicBezTo>
                              <a:cubicBezTo>
                                <a:pt x="1233019" y="-6936"/>
                                <a:pt x="1304862" y="9362"/>
                                <a:pt x="1426796" y="0"/>
                              </a:cubicBezTo>
                              <a:cubicBezTo>
                                <a:pt x="1548731" y="-9362"/>
                                <a:pt x="1802588" y="64896"/>
                                <a:pt x="1981661" y="0"/>
                              </a:cubicBezTo>
                              <a:cubicBezTo>
                                <a:pt x="2037075" y="166207"/>
                                <a:pt x="1971217" y="297710"/>
                                <a:pt x="1981661" y="491936"/>
                              </a:cubicBezTo>
                              <a:cubicBezTo>
                                <a:pt x="1855234" y="518237"/>
                                <a:pt x="1722530" y="467996"/>
                                <a:pt x="1525879" y="491936"/>
                              </a:cubicBezTo>
                              <a:cubicBezTo>
                                <a:pt x="1329228" y="515876"/>
                                <a:pt x="1185559" y="463242"/>
                                <a:pt x="1030464" y="491936"/>
                              </a:cubicBezTo>
                              <a:cubicBezTo>
                                <a:pt x="875369" y="520630"/>
                                <a:pt x="732657" y="476639"/>
                                <a:pt x="495415" y="491936"/>
                              </a:cubicBezTo>
                              <a:cubicBezTo>
                                <a:pt x="258173" y="507233"/>
                                <a:pt x="172045" y="433802"/>
                                <a:pt x="0" y="491936"/>
                              </a:cubicBezTo>
                              <a:cubicBezTo>
                                <a:pt x="-43307" y="273132"/>
                                <a:pt x="37602" y="100544"/>
                                <a:pt x="0" y="0"/>
                              </a:cubicBezTo>
                              <a:close/>
                            </a:path>
                            <a:path w="1981661" h="491936" stroke="0" extrusionOk="0">
                              <a:moveTo>
                                <a:pt x="0" y="0"/>
                              </a:moveTo>
                              <a:cubicBezTo>
                                <a:pt x="235869" y="-11767"/>
                                <a:pt x="399339" y="38106"/>
                                <a:pt x="515232" y="0"/>
                              </a:cubicBezTo>
                              <a:cubicBezTo>
                                <a:pt x="631125" y="-38106"/>
                                <a:pt x="818939" y="30613"/>
                                <a:pt x="951197" y="0"/>
                              </a:cubicBezTo>
                              <a:cubicBezTo>
                                <a:pt x="1083456" y="-30613"/>
                                <a:pt x="1248695" y="33911"/>
                                <a:pt x="1426796" y="0"/>
                              </a:cubicBezTo>
                              <a:cubicBezTo>
                                <a:pt x="1604897" y="-33911"/>
                                <a:pt x="1763483" y="56317"/>
                                <a:pt x="1981661" y="0"/>
                              </a:cubicBezTo>
                              <a:cubicBezTo>
                                <a:pt x="2036064" y="124383"/>
                                <a:pt x="1970323" y="250461"/>
                                <a:pt x="1981661" y="491936"/>
                              </a:cubicBezTo>
                              <a:cubicBezTo>
                                <a:pt x="1845793" y="504931"/>
                                <a:pt x="1670551" y="482852"/>
                                <a:pt x="1525879" y="491936"/>
                              </a:cubicBezTo>
                              <a:cubicBezTo>
                                <a:pt x="1381207" y="501020"/>
                                <a:pt x="1147652" y="451527"/>
                                <a:pt x="1030464" y="491936"/>
                              </a:cubicBezTo>
                              <a:cubicBezTo>
                                <a:pt x="913276" y="532345"/>
                                <a:pt x="706315" y="462978"/>
                                <a:pt x="515232" y="491936"/>
                              </a:cubicBezTo>
                              <a:cubicBezTo>
                                <a:pt x="324149" y="520894"/>
                                <a:pt x="223522" y="477580"/>
                                <a:pt x="0" y="491936"/>
                              </a:cubicBezTo>
                              <a:cubicBezTo>
                                <a:pt x="-3041" y="279513"/>
                                <a:pt x="27595" y="158545"/>
                                <a:pt x="0" y="0"/>
                              </a:cubicBezTo>
                              <a:close/>
                            </a:path>
                          </a:pathLst>
                        </a:custGeom>
                        <ask:type>
                          <ask:lineSketchNone/>
                        </ask:type>
                      </ask:lineSketchStyleProps>
                    </a:ext>
                  </a:extLst>
                </a:ln>
                <a:effectLst/>
              </p:spPr>
              <p:txBody>
                <a:bodyPr lIns="252000" tIns="36000" bIns="36000"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it-IT" sz="1200" b="1" i="0" u="none" strike="noStrike" kern="0" cap="none" spc="0" normalizeH="0" baseline="0" dirty="0" err="1">
                      <a:ln>
                        <a:noFill/>
                      </a:ln>
                      <a:solidFill>
                        <a:srgbClr val="004890"/>
                      </a:solidFill>
                      <a:effectLst/>
                      <a:uLnTx/>
                      <a:uFillTx/>
                      <a:ea typeface="+mn-ea"/>
                      <a:cs typeface="+mn-cs"/>
                    </a:rPr>
                    <a:t>Driving</a:t>
                  </a:r>
                  <a:r>
                    <a:rPr kumimoji="0" lang="it-IT" sz="1200" b="1" i="0" u="none" strike="noStrike" kern="0" cap="none" spc="0" normalizeH="0" baseline="0" dirty="0">
                      <a:ln>
                        <a:noFill/>
                      </a:ln>
                      <a:solidFill>
                        <a:srgbClr val="004890"/>
                      </a:solidFill>
                      <a:effectLst/>
                      <a:uLnTx/>
                      <a:uFillTx/>
                      <a:ea typeface="+mn-ea"/>
                      <a:cs typeface="+mn-cs"/>
                    </a:rPr>
                    <a:t> style</a:t>
                  </a:r>
                </a:p>
              </p:txBody>
            </p:sp>
            <p:grpSp>
              <p:nvGrpSpPr>
                <p:cNvPr id="20" name="Group 19">
                  <a:extLst>
                    <a:ext uri="{FF2B5EF4-FFF2-40B4-BE49-F238E27FC236}">
                      <a16:creationId xmlns:a16="http://schemas.microsoft.com/office/drawing/2014/main" id="{39FAED2E-ED62-F92B-A543-C98A149E26EB}"/>
                    </a:ext>
                  </a:extLst>
                </p:cNvPr>
                <p:cNvGrpSpPr/>
                <p:nvPr/>
              </p:nvGrpSpPr>
              <p:grpSpPr>
                <a:xfrm>
                  <a:off x="9049861" y="3262314"/>
                  <a:ext cx="798927" cy="798926"/>
                  <a:chOff x="9390036" y="3508032"/>
                  <a:chExt cx="798927" cy="798926"/>
                </a:xfrm>
              </p:grpSpPr>
              <p:sp>
                <p:nvSpPr>
                  <p:cNvPr id="21" name="Oval 56">
                    <a:extLst>
                      <a:ext uri="{FF2B5EF4-FFF2-40B4-BE49-F238E27FC236}">
                        <a16:creationId xmlns:a16="http://schemas.microsoft.com/office/drawing/2014/main" id="{8D4AE84D-1481-2F26-DA6D-973DF35428A3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gray">
                  <a:xfrm>
                    <a:off x="9390036" y="3508032"/>
                    <a:ext cx="798927" cy="798926"/>
                  </a:xfrm>
                  <a:prstGeom prst="ellipse">
                    <a:avLst/>
                  </a:prstGeom>
                  <a:solidFill>
                    <a:srgbClr val="FFFFFF"/>
                  </a:solidFill>
                  <a:ln w="28575" algn="ctr">
                    <a:solidFill>
                      <a:srgbClr val="004890"/>
                    </a:solidFill>
                    <a:miter lim="800000"/>
                    <a:headEnd/>
                    <a:tailEnd/>
                    <a:extLst>
                      <a:ext uri="{C807C97D-BFC1-408E-A445-0C87EB9F89A2}">
                        <ask:lineSketchStyleProps xmlns:ask="http://schemas.microsoft.com/office/drawing/2018/sketchyshapes" sd="3583698021">
                          <a:custGeom>
                            <a:avLst/>
                            <a:gdLst>
                              <a:gd name="connsiteX0" fmla="*/ 0 w 798927"/>
                              <a:gd name="connsiteY0" fmla="*/ 399463 h 798926"/>
                              <a:gd name="connsiteX1" fmla="*/ 399464 w 798927"/>
                              <a:gd name="connsiteY1" fmla="*/ 0 h 798926"/>
                              <a:gd name="connsiteX2" fmla="*/ 798928 w 798927"/>
                              <a:gd name="connsiteY2" fmla="*/ 399463 h 798926"/>
                              <a:gd name="connsiteX3" fmla="*/ 399464 w 798927"/>
                              <a:gd name="connsiteY3" fmla="*/ 798926 h 798926"/>
                              <a:gd name="connsiteX4" fmla="*/ 0 w 798927"/>
                              <a:gd name="connsiteY4" fmla="*/ 399463 h 798926"/>
                            </a:gdLst>
                            <a:ahLst/>
                            <a:cxnLst>
                              <a:cxn ang="0">
                                <a:pos x="connsiteX0" y="connsiteY0"/>
                              </a:cxn>
                              <a:cxn ang="0">
                                <a:pos x="connsiteX1" y="connsiteY1"/>
                              </a:cxn>
                              <a:cxn ang="0">
                                <a:pos x="connsiteX2" y="connsiteY2"/>
                              </a:cxn>
                              <a:cxn ang="0">
                                <a:pos x="connsiteX3" y="connsiteY3"/>
                              </a:cxn>
                              <a:cxn ang="0">
                                <a:pos x="connsiteX4" y="connsiteY4"/>
                              </a:cxn>
                            </a:cxnLst>
                            <a:rect l="l" t="t" r="r" b="b"/>
                            <a:pathLst>
                              <a:path w="798927" h="798926" fill="none" extrusionOk="0">
                                <a:moveTo>
                                  <a:pt x="0" y="399463"/>
                                </a:moveTo>
                                <a:cubicBezTo>
                                  <a:pt x="-16120" y="179195"/>
                                  <a:pt x="223671" y="-6514"/>
                                  <a:pt x="399464" y="0"/>
                                </a:cubicBezTo>
                                <a:cubicBezTo>
                                  <a:pt x="629368" y="-23037"/>
                                  <a:pt x="802668" y="189141"/>
                                  <a:pt x="798928" y="399463"/>
                                </a:cubicBezTo>
                                <a:cubicBezTo>
                                  <a:pt x="775823" y="667620"/>
                                  <a:pt x="596912" y="754964"/>
                                  <a:pt x="399464" y="798926"/>
                                </a:cubicBezTo>
                                <a:cubicBezTo>
                                  <a:pt x="234442" y="784453"/>
                                  <a:pt x="26505" y="618941"/>
                                  <a:pt x="0" y="399463"/>
                                </a:cubicBezTo>
                                <a:close/>
                              </a:path>
                              <a:path w="798927" h="798926" stroke="0" extrusionOk="0">
                                <a:moveTo>
                                  <a:pt x="0" y="399463"/>
                                </a:moveTo>
                                <a:cubicBezTo>
                                  <a:pt x="34706" y="136688"/>
                                  <a:pt x="168029" y="2097"/>
                                  <a:pt x="399464" y="0"/>
                                </a:cubicBezTo>
                                <a:cubicBezTo>
                                  <a:pt x="661868" y="-19139"/>
                                  <a:pt x="814799" y="186572"/>
                                  <a:pt x="798928" y="399463"/>
                                </a:cubicBezTo>
                                <a:cubicBezTo>
                                  <a:pt x="791729" y="558347"/>
                                  <a:pt x="604924" y="757427"/>
                                  <a:pt x="399464" y="798926"/>
                                </a:cubicBezTo>
                                <a:cubicBezTo>
                                  <a:pt x="185672" y="792737"/>
                                  <a:pt x="4746" y="588957"/>
                                  <a:pt x="0" y="399463"/>
                                </a:cubicBezTo>
                                <a:close/>
                              </a:path>
                            </a:pathLst>
                          </a:custGeom>
                          <ask:type>
                            <ask:lineSketchNone/>
                          </ask:type>
                        </ask:lineSketchStyleProps>
                      </a:ext>
                    </a:extLst>
                  </a:ln>
                </p:spPr>
                <p:txBody>
                  <a:bodyPr wrap="square" lIns="88818" tIns="88818" rIns="88818" bIns="88818"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6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it-IT" sz="1000" b="1" i="0" u="none" strike="noStrike" kern="0" cap="none" spc="0" normalizeH="0" baseline="0">
                      <a:ln>
                        <a:noFill/>
                      </a:ln>
                      <a:solidFill>
                        <a:srgbClr val="0F3250"/>
                      </a:solidFill>
                      <a:effectLst/>
                      <a:uLnTx/>
                      <a:uFillTx/>
                      <a:cs typeface="Calibri" panose="020F0502020204030204" pitchFamily="34" charset="0"/>
                    </a:endParaRPr>
                  </a:p>
                </p:txBody>
              </p:sp>
              <p:grpSp>
                <p:nvGrpSpPr>
                  <p:cNvPr id="22" name="Group 21">
                    <a:extLst>
                      <a:ext uri="{FF2B5EF4-FFF2-40B4-BE49-F238E27FC236}">
                        <a16:creationId xmlns:a16="http://schemas.microsoft.com/office/drawing/2014/main" id="{66FD868F-8732-302E-51E7-A72DE321C9E8}"/>
                      </a:ext>
                    </a:extLst>
                  </p:cNvPr>
                  <p:cNvGrpSpPr>
                    <a:grpSpLocks noChangeAspect="1"/>
                  </p:cNvGrpSpPr>
                  <p:nvPr/>
                </p:nvGrpSpPr>
                <p:grpSpPr>
                  <a:xfrm>
                    <a:off x="9492521" y="3661777"/>
                    <a:ext cx="593957" cy="491437"/>
                    <a:chOff x="7838251" y="3013206"/>
                    <a:chExt cx="445881" cy="368919"/>
                  </a:xfrm>
                </p:grpSpPr>
                <p:sp>
                  <p:nvSpPr>
                    <p:cNvPr id="23" name="Freeform 885">
                      <a:extLst>
                        <a:ext uri="{FF2B5EF4-FFF2-40B4-BE49-F238E27FC236}">
                          <a16:creationId xmlns:a16="http://schemas.microsoft.com/office/drawing/2014/main" id="{CD72188D-2422-7303-3D7A-70039C463B20}"/>
                        </a:ext>
                      </a:extLst>
                    </p:cNvPr>
                    <p:cNvSpPr>
                      <a:spLocks noChangeAspect="1" noEditPoints="1"/>
                    </p:cNvSpPr>
                    <p:nvPr/>
                  </p:nvSpPr>
                  <p:spPr bwMode="auto">
                    <a:xfrm>
                      <a:off x="7946920" y="3120351"/>
                      <a:ext cx="217298" cy="261774"/>
                    </a:xfrm>
                    <a:custGeom>
                      <a:avLst/>
                      <a:gdLst>
                        <a:gd name="T0" fmla="*/ 234 w 256"/>
                        <a:gd name="T1" fmla="*/ 171 h 310"/>
                        <a:gd name="T2" fmla="*/ 208 w 256"/>
                        <a:gd name="T3" fmla="*/ 160 h 310"/>
                        <a:gd name="T4" fmla="*/ 200 w 256"/>
                        <a:gd name="T5" fmla="*/ 133 h 310"/>
                        <a:gd name="T6" fmla="*/ 96 w 256"/>
                        <a:gd name="T7" fmla="*/ 107 h 310"/>
                        <a:gd name="T8" fmla="*/ 53 w 256"/>
                        <a:gd name="T9" fmla="*/ 136 h 310"/>
                        <a:gd name="T10" fmla="*/ 32 w 256"/>
                        <a:gd name="T11" fmla="*/ 160 h 310"/>
                        <a:gd name="T12" fmla="*/ 25 w 256"/>
                        <a:gd name="T13" fmla="*/ 179 h 310"/>
                        <a:gd name="T14" fmla="*/ 0 w 256"/>
                        <a:gd name="T15" fmla="*/ 245 h 310"/>
                        <a:gd name="T16" fmla="*/ 10 w 256"/>
                        <a:gd name="T17" fmla="*/ 265 h 310"/>
                        <a:gd name="T18" fmla="*/ 21 w 256"/>
                        <a:gd name="T19" fmla="*/ 310 h 310"/>
                        <a:gd name="T20" fmla="*/ 74 w 256"/>
                        <a:gd name="T21" fmla="*/ 299 h 310"/>
                        <a:gd name="T22" fmla="*/ 128 w 256"/>
                        <a:gd name="T23" fmla="*/ 288 h 310"/>
                        <a:gd name="T24" fmla="*/ 181 w 256"/>
                        <a:gd name="T25" fmla="*/ 299 h 310"/>
                        <a:gd name="T26" fmla="*/ 234 w 256"/>
                        <a:gd name="T27" fmla="*/ 310 h 310"/>
                        <a:gd name="T28" fmla="*/ 245 w 256"/>
                        <a:gd name="T29" fmla="*/ 265 h 310"/>
                        <a:gd name="T30" fmla="*/ 256 w 256"/>
                        <a:gd name="T31" fmla="*/ 245 h 310"/>
                        <a:gd name="T32" fmla="*/ 230 w 256"/>
                        <a:gd name="T33" fmla="*/ 179 h 310"/>
                        <a:gd name="T34" fmla="*/ 160 w 256"/>
                        <a:gd name="T35" fmla="*/ 128 h 310"/>
                        <a:gd name="T36" fmla="*/ 189 w 256"/>
                        <a:gd name="T37" fmla="*/ 171 h 310"/>
                        <a:gd name="T38" fmla="*/ 73 w 256"/>
                        <a:gd name="T39" fmla="*/ 144 h 310"/>
                        <a:gd name="T40" fmla="*/ 53 w 256"/>
                        <a:gd name="T41" fmla="*/ 288 h 310"/>
                        <a:gd name="T42" fmla="*/ 32 w 256"/>
                        <a:gd name="T43" fmla="*/ 277 h 310"/>
                        <a:gd name="T44" fmla="*/ 53 w 256"/>
                        <a:gd name="T45" fmla="*/ 288 h 310"/>
                        <a:gd name="T46" fmla="*/ 21 w 256"/>
                        <a:gd name="T47" fmla="*/ 224 h 310"/>
                        <a:gd name="T48" fmla="*/ 202 w 256"/>
                        <a:gd name="T49" fmla="*/ 192 h 310"/>
                        <a:gd name="T50" fmla="*/ 234 w 256"/>
                        <a:gd name="T51" fmla="*/ 245 h 310"/>
                        <a:gd name="T52" fmla="*/ 21 w 256"/>
                        <a:gd name="T53" fmla="*/ 245 h 310"/>
                        <a:gd name="T54" fmla="*/ 202 w 256"/>
                        <a:gd name="T55" fmla="*/ 288 h 310"/>
                        <a:gd name="T56" fmla="*/ 224 w 256"/>
                        <a:gd name="T57" fmla="*/ 277 h 310"/>
                        <a:gd name="T58" fmla="*/ 160 w 256"/>
                        <a:gd name="T59" fmla="*/ 224 h 310"/>
                        <a:gd name="T60" fmla="*/ 106 w 256"/>
                        <a:gd name="T61" fmla="*/ 235 h 310"/>
                        <a:gd name="T62" fmla="*/ 106 w 256"/>
                        <a:gd name="T63" fmla="*/ 214 h 310"/>
                        <a:gd name="T64" fmla="*/ 160 w 256"/>
                        <a:gd name="T65" fmla="*/ 224 h 310"/>
                        <a:gd name="T66" fmla="*/ 57 w 256"/>
                        <a:gd name="T67" fmla="*/ 239 h 310"/>
                        <a:gd name="T68" fmla="*/ 57 w 256"/>
                        <a:gd name="T69" fmla="*/ 218 h 310"/>
                        <a:gd name="T70" fmla="*/ 208 w 256"/>
                        <a:gd name="T71" fmla="*/ 228 h 310"/>
                        <a:gd name="T72" fmla="*/ 188 w 256"/>
                        <a:gd name="T73" fmla="*/ 228 h 310"/>
                        <a:gd name="T74" fmla="*/ 208 w 256"/>
                        <a:gd name="T75" fmla="*/ 228 h 310"/>
                        <a:gd name="T76" fmla="*/ 13 w 256"/>
                        <a:gd name="T77" fmla="*/ 55 h 310"/>
                        <a:gd name="T78" fmla="*/ 242 w 256"/>
                        <a:gd name="T79" fmla="*/ 55 h 310"/>
                        <a:gd name="T80" fmla="*/ 226 w 256"/>
                        <a:gd name="T81" fmla="*/ 69 h 310"/>
                        <a:gd name="T82" fmla="*/ 29 w 256"/>
                        <a:gd name="T83" fmla="*/ 69 h 310"/>
                        <a:gd name="T84" fmla="*/ 14 w 256"/>
                        <a:gd name="T85" fmla="*/ 70 h 310"/>
                        <a:gd name="T86" fmla="*/ 211 w 256"/>
                        <a:gd name="T87" fmla="*/ 104 h 310"/>
                        <a:gd name="T88" fmla="*/ 128 w 256"/>
                        <a:gd name="T89" fmla="*/ 70 h 310"/>
                        <a:gd name="T90" fmla="*/ 51 w 256"/>
                        <a:gd name="T91" fmla="*/ 107 h 310"/>
                        <a:gd name="T92" fmla="*/ 43 w 256"/>
                        <a:gd name="T93" fmla="*/ 89 h 310"/>
                        <a:gd name="T94" fmla="*/ 212 w 256"/>
                        <a:gd name="T95" fmla="*/ 89 h 31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  <a:cxn ang="0">
                          <a:pos x="T88" y="T89"/>
                        </a:cxn>
                        <a:cxn ang="0">
                          <a:pos x="T90" y="T91"/>
                        </a:cxn>
                        <a:cxn ang="0">
                          <a:pos x="T92" y="T93"/>
                        </a:cxn>
                        <a:cxn ang="0">
                          <a:pos x="T94" y="T95"/>
                        </a:cxn>
                      </a:cxnLst>
                      <a:rect l="0" t="0" r="r" b="b"/>
                      <a:pathLst>
                        <a:path w="256" h="310">
                          <a:moveTo>
                            <a:pt x="230" y="179"/>
                          </a:moveTo>
                          <a:cubicBezTo>
                            <a:pt x="233" y="177"/>
                            <a:pt x="234" y="175"/>
                            <a:pt x="234" y="171"/>
                          </a:cubicBezTo>
                          <a:cubicBezTo>
                            <a:pt x="234" y="165"/>
                            <a:pt x="230" y="160"/>
                            <a:pt x="224" y="160"/>
                          </a:cubicBezTo>
                          <a:cubicBezTo>
                            <a:pt x="208" y="160"/>
                            <a:pt x="208" y="160"/>
                            <a:pt x="208" y="160"/>
                          </a:cubicBezTo>
                          <a:cubicBezTo>
                            <a:pt x="202" y="136"/>
                            <a:pt x="202" y="136"/>
                            <a:pt x="202" y="136"/>
                          </a:cubicBezTo>
                          <a:cubicBezTo>
                            <a:pt x="202" y="135"/>
                            <a:pt x="201" y="134"/>
                            <a:pt x="200" y="133"/>
                          </a:cubicBezTo>
                          <a:cubicBezTo>
                            <a:pt x="198" y="130"/>
                            <a:pt x="180" y="107"/>
                            <a:pt x="160" y="107"/>
                          </a:cubicBezTo>
                          <a:cubicBezTo>
                            <a:pt x="96" y="107"/>
                            <a:pt x="96" y="107"/>
                            <a:pt x="96" y="107"/>
                          </a:cubicBezTo>
                          <a:cubicBezTo>
                            <a:pt x="75" y="107"/>
                            <a:pt x="57" y="130"/>
                            <a:pt x="55" y="133"/>
                          </a:cubicBezTo>
                          <a:cubicBezTo>
                            <a:pt x="54" y="134"/>
                            <a:pt x="54" y="135"/>
                            <a:pt x="53" y="136"/>
                          </a:cubicBezTo>
                          <a:cubicBezTo>
                            <a:pt x="47" y="160"/>
                            <a:pt x="47" y="160"/>
                            <a:pt x="47" y="160"/>
                          </a:cubicBezTo>
                          <a:cubicBezTo>
                            <a:pt x="32" y="160"/>
                            <a:pt x="32" y="160"/>
                            <a:pt x="32" y="160"/>
                          </a:cubicBezTo>
                          <a:cubicBezTo>
                            <a:pt x="26" y="160"/>
                            <a:pt x="21" y="165"/>
                            <a:pt x="21" y="171"/>
                          </a:cubicBezTo>
                          <a:cubicBezTo>
                            <a:pt x="21" y="175"/>
                            <a:pt x="23" y="177"/>
                            <a:pt x="25" y="179"/>
                          </a:cubicBezTo>
                          <a:cubicBezTo>
                            <a:pt x="10" y="189"/>
                            <a:pt x="0" y="206"/>
                            <a:pt x="0" y="224"/>
                          </a:cubicBezTo>
                          <a:cubicBezTo>
                            <a:pt x="0" y="245"/>
                            <a:pt x="0" y="245"/>
                            <a:pt x="0" y="245"/>
                          </a:cubicBezTo>
                          <a:cubicBezTo>
                            <a:pt x="0" y="248"/>
                            <a:pt x="0" y="255"/>
                            <a:pt x="6" y="262"/>
                          </a:cubicBezTo>
                          <a:cubicBezTo>
                            <a:pt x="8" y="263"/>
                            <a:pt x="9" y="264"/>
                            <a:pt x="10" y="265"/>
                          </a:cubicBezTo>
                          <a:cubicBezTo>
                            <a:pt x="10" y="299"/>
                            <a:pt x="10" y="299"/>
                            <a:pt x="10" y="299"/>
                          </a:cubicBezTo>
                          <a:cubicBezTo>
                            <a:pt x="10" y="305"/>
                            <a:pt x="15" y="310"/>
                            <a:pt x="21" y="310"/>
                          </a:cubicBezTo>
                          <a:cubicBezTo>
                            <a:pt x="64" y="310"/>
                            <a:pt x="64" y="310"/>
                            <a:pt x="64" y="310"/>
                          </a:cubicBezTo>
                          <a:cubicBezTo>
                            <a:pt x="70" y="310"/>
                            <a:pt x="74" y="305"/>
                            <a:pt x="74" y="299"/>
                          </a:cubicBezTo>
                          <a:cubicBezTo>
                            <a:pt x="74" y="286"/>
                            <a:pt x="74" y="286"/>
                            <a:pt x="74" y="286"/>
                          </a:cubicBezTo>
                          <a:cubicBezTo>
                            <a:pt x="90" y="287"/>
                            <a:pt x="107" y="288"/>
                            <a:pt x="128" y="288"/>
                          </a:cubicBezTo>
                          <a:cubicBezTo>
                            <a:pt x="148" y="288"/>
                            <a:pt x="165" y="287"/>
                            <a:pt x="181" y="286"/>
                          </a:cubicBezTo>
                          <a:cubicBezTo>
                            <a:pt x="181" y="299"/>
                            <a:pt x="181" y="299"/>
                            <a:pt x="181" y="299"/>
                          </a:cubicBezTo>
                          <a:cubicBezTo>
                            <a:pt x="181" y="305"/>
                            <a:pt x="186" y="310"/>
                            <a:pt x="192" y="310"/>
                          </a:cubicBezTo>
                          <a:cubicBezTo>
                            <a:pt x="234" y="310"/>
                            <a:pt x="234" y="310"/>
                            <a:pt x="234" y="310"/>
                          </a:cubicBezTo>
                          <a:cubicBezTo>
                            <a:pt x="240" y="310"/>
                            <a:pt x="245" y="305"/>
                            <a:pt x="245" y="299"/>
                          </a:cubicBezTo>
                          <a:cubicBezTo>
                            <a:pt x="245" y="265"/>
                            <a:pt x="245" y="265"/>
                            <a:pt x="245" y="265"/>
                          </a:cubicBezTo>
                          <a:cubicBezTo>
                            <a:pt x="246" y="264"/>
                            <a:pt x="248" y="263"/>
                            <a:pt x="249" y="262"/>
                          </a:cubicBezTo>
                          <a:cubicBezTo>
                            <a:pt x="255" y="255"/>
                            <a:pt x="256" y="248"/>
                            <a:pt x="256" y="245"/>
                          </a:cubicBezTo>
                          <a:cubicBezTo>
                            <a:pt x="256" y="224"/>
                            <a:pt x="256" y="224"/>
                            <a:pt x="256" y="224"/>
                          </a:cubicBezTo>
                          <a:cubicBezTo>
                            <a:pt x="256" y="206"/>
                            <a:pt x="245" y="189"/>
                            <a:pt x="230" y="179"/>
                          </a:cubicBezTo>
                          <a:close/>
                          <a:moveTo>
                            <a:pt x="96" y="128"/>
                          </a:moveTo>
                          <a:cubicBezTo>
                            <a:pt x="160" y="128"/>
                            <a:pt x="160" y="128"/>
                            <a:pt x="160" y="128"/>
                          </a:cubicBezTo>
                          <a:cubicBezTo>
                            <a:pt x="166" y="128"/>
                            <a:pt x="176" y="137"/>
                            <a:pt x="182" y="144"/>
                          </a:cubicBezTo>
                          <a:cubicBezTo>
                            <a:pt x="189" y="171"/>
                            <a:pt x="189" y="171"/>
                            <a:pt x="189" y="171"/>
                          </a:cubicBezTo>
                          <a:cubicBezTo>
                            <a:pt x="67" y="171"/>
                            <a:pt x="67" y="171"/>
                            <a:pt x="67" y="171"/>
                          </a:cubicBezTo>
                          <a:cubicBezTo>
                            <a:pt x="73" y="144"/>
                            <a:pt x="73" y="144"/>
                            <a:pt x="73" y="144"/>
                          </a:cubicBezTo>
                          <a:cubicBezTo>
                            <a:pt x="79" y="137"/>
                            <a:pt x="89" y="128"/>
                            <a:pt x="96" y="128"/>
                          </a:cubicBezTo>
                          <a:close/>
                          <a:moveTo>
                            <a:pt x="53" y="288"/>
                          </a:moveTo>
                          <a:cubicBezTo>
                            <a:pt x="32" y="288"/>
                            <a:pt x="32" y="288"/>
                            <a:pt x="32" y="288"/>
                          </a:cubicBezTo>
                          <a:cubicBezTo>
                            <a:pt x="32" y="277"/>
                            <a:pt x="32" y="277"/>
                            <a:pt x="32" y="277"/>
                          </a:cubicBezTo>
                          <a:cubicBezTo>
                            <a:pt x="38" y="279"/>
                            <a:pt x="45" y="281"/>
                            <a:pt x="53" y="282"/>
                          </a:cubicBezTo>
                          <a:lnTo>
                            <a:pt x="53" y="288"/>
                          </a:lnTo>
                          <a:close/>
                          <a:moveTo>
                            <a:pt x="21" y="245"/>
                          </a:moveTo>
                          <a:cubicBezTo>
                            <a:pt x="21" y="224"/>
                            <a:pt x="21" y="224"/>
                            <a:pt x="21" y="224"/>
                          </a:cubicBezTo>
                          <a:cubicBezTo>
                            <a:pt x="21" y="208"/>
                            <a:pt x="37" y="192"/>
                            <a:pt x="53" y="192"/>
                          </a:cubicBezTo>
                          <a:cubicBezTo>
                            <a:pt x="202" y="192"/>
                            <a:pt x="202" y="192"/>
                            <a:pt x="202" y="192"/>
                          </a:cubicBezTo>
                          <a:cubicBezTo>
                            <a:pt x="219" y="192"/>
                            <a:pt x="234" y="208"/>
                            <a:pt x="234" y="224"/>
                          </a:cubicBezTo>
                          <a:cubicBezTo>
                            <a:pt x="234" y="245"/>
                            <a:pt x="234" y="245"/>
                            <a:pt x="234" y="245"/>
                          </a:cubicBezTo>
                          <a:cubicBezTo>
                            <a:pt x="233" y="247"/>
                            <a:pt x="222" y="267"/>
                            <a:pt x="128" y="267"/>
                          </a:cubicBezTo>
                          <a:cubicBezTo>
                            <a:pt x="34" y="267"/>
                            <a:pt x="22" y="247"/>
                            <a:pt x="21" y="245"/>
                          </a:cubicBezTo>
                          <a:close/>
                          <a:moveTo>
                            <a:pt x="224" y="288"/>
                          </a:moveTo>
                          <a:cubicBezTo>
                            <a:pt x="202" y="288"/>
                            <a:pt x="202" y="288"/>
                            <a:pt x="202" y="288"/>
                          </a:cubicBezTo>
                          <a:cubicBezTo>
                            <a:pt x="202" y="282"/>
                            <a:pt x="202" y="282"/>
                            <a:pt x="202" y="282"/>
                          </a:cubicBezTo>
                          <a:cubicBezTo>
                            <a:pt x="210" y="281"/>
                            <a:pt x="217" y="279"/>
                            <a:pt x="224" y="277"/>
                          </a:cubicBezTo>
                          <a:lnTo>
                            <a:pt x="224" y="288"/>
                          </a:lnTo>
                          <a:close/>
                          <a:moveTo>
                            <a:pt x="160" y="224"/>
                          </a:moveTo>
                          <a:cubicBezTo>
                            <a:pt x="160" y="230"/>
                            <a:pt x="155" y="235"/>
                            <a:pt x="149" y="235"/>
                          </a:cubicBezTo>
                          <a:cubicBezTo>
                            <a:pt x="106" y="235"/>
                            <a:pt x="106" y="235"/>
                            <a:pt x="106" y="235"/>
                          </a:cubicBezTo>
                          <a:cubicBezTo>
                            <a:pt x="100" y="235"/>
                            <a:pt x="96" y="230"/>
                            <a:pt x="96" y="224"/>
                          </a:cubicBezTo>
                          <a:cubicBezTo>
                            <a:pt x="96" y="218"/>
                            <a:pt x="100" y="214"/>
                            <a:pt x="106" y="214"/>
                          </a:cubicBezTo>
                          <a:cubicBezTo>
                            <a:pt x="149" y="214"/>
                            <a:pt x="149" y="214"/>
                            <a:pt x="149" y="214"/>
                          </a:cubicBezTo>
                          <a:cubicBezTo>
                            <a:pt x="155" y="214"/>
                            <a:pt x="160" y="218"/>
                            <a:pt x="160" y="224"/>
                          </a:cubicBezTo>
                          <a:close/>
                          <a:moveTo>
                            <a:pt x="67" y="228"/>
                          </a:moveTo>
                          <a:cubicBezTo>
                            <a:pt x="67" y="234"/>
                            <a:pt x="63" y="239"/>
                            <a:pt x="57" y="239"/>
                          </a:cubicBezTo>
                          <a:cubicBezTo>
                            <a:pt x="52" y="239"/>
                            <a:pt x="47" y="234"/>
                            <a:pt x="47" y="228"/>
                          </a:cubicBezTo>
                          <a:cubicBezTo>
                            <a:pt x="47" y="223"/>
                            <a:pt x="52" y="218"/>
                            <a:pt x="57" y="218"/>
                          </a:cubicBezTo>
                          <a:cubicBezTo>
                            <a:pt x="63" y="218"/>
                            <a:pt x="67" y="223"/>
                            <a:pt x="67" y="228"/>
                          </a:cubicBezTo>
                          <a:close/>
                          <a:moveTo>
                            <a:pt x="208" y="228"/>
                          </a:moveTo>
                          <a:cubicBezTo>
                            <a:pt x="208" y="234"/>
                            <a:pt x="204" y="239"/>
                            <a:pt x="198" y="239"/>
                          </a:cubicBezTo>
                          <a:cubicBezTo>
                            <a:pt x="193" y="239"/>
                            <a:pt x="188" y="234"/>
                            <a:pt x="188" y="228"/>
                          </a:cubicBezTo>
                          <a:cubicBezTo>
                            <a:pt x="188" y="223"/>
                            <a:pt x="193" y="218"/>
                            <a:pt x="198" y="218"/>
                          </a:cubicBezTo>
                          <a:cubicBezTo>
                            <a:pt x="204" y="218"/>
                            <a:pt x="208" y="223"/>
                            <a:pt x="208" y="228"/>
                          </a:cubicBezTo>
                          <a:close/>
                          <a:moveTo>
                            <a:pt x="14" y="70"/>
                          </a:moveTo>
                          <a:cubicBezTo>
                            <a:pt x="10" y="66"/>
                            <a:pt x="9" y="60"/>
                            <a:pt x="13" y="55"/>
                          </a:cubicBezTo>
                          <a:cubicBezTo>
                            <a:pt x="43" y="20"/>
                            <a:pt x="84" y="0"/>
                            <a:pt x="128" y="0"/>
                          </a:cubicBezTo>
                          <a:cubicBezTo>
                            <a:pt x="171" y="0"/>
                            <a:pt x="212" y="20"/>
                            <a:pt x="242" y="55"/>
                          </a:cubicBezTo>
                          <a:cubicBezTo>
                            <a:pt x="246" y="60"/>
                            <a:pt x="246" y="66"/>
                            <a:pt x="241" y="70"/>
                          </a:cubicBezTo>
                          <a:cubicBezTo>
                            <a:pt x="237" y="74"/>
                            <a:pt x="230" y="74"/>
                            <a:pt x="226" y="69"/>
                          </a:cubicBezTo>
                          <a:cubicBezTo>
                            <a:pt x="200" y="39"/>
                            <a:pt x="165" y="22"/>
                            <a:pt x="128" y="22"/>
                          </a:cubicBezTo>
                          <a:cubicBezTo>
                            <a:pt x="90" y="22"/>
                            <a:pt x="55" y="39"/>
                            <a:pt x="29" y="69"/>
                          </a:cubicBezTo>
                          <a:cubicBezTo>
                            <a:pt x="27" y="72"/>
                            <a:pt x="24" y="73"/>
                            <a:pt x="21" y="73"/>
                          </a:cubicBezTo>
                          <a:cubicBezTo>
                            <a:pt x="19" y="73"/>
                            <a:pt x="16" y="72"/>
                            <a:pt x="14" y="70"/>
                          </a:cubicBezTo>
                          <a:close/>
                          <a:moveTo>
                            <a:pt x="212" y="89"/>
                          </a:moveTo>
                          <a:cubicBezTo>
                            <a:pt x="216" y="94"/>
                            <a:pt x="215" y="101"/>
                            <a:pt x="211" y="104"/>
                          </a:cubicBezTo>
                          <a:cubicBezTo>
                            <a:pt x="206" y="108"/>
                            <a:pt x="200" y="108"/>
                            <a:pt x="196" y="103"/>
                          </a:cubicBezTo>
                          <a:cubicBezTo>
                            <a:pt x="178" y="82"/>
                            <a:pt x="153" y="70"/>
                            <a:pt x="128" y="70"/>
                          </a:cubicBezTo>
                          <a:cubicBezTo>
                            <a:pt x="102" y="70"/>
                            <a:pt x="78" y="82"/>
                            <a:pt x="60" y="103"/>
                          </a:cubicBezTo>
                          <a:cubicBezTo>
                            <a:pt x="57" y="106"/>
                            <a:pt x="54" y="107"/>
                            <a:pt x="51" y="107"/>
                          </a:cubicBezTo>
                          <a:cubicBezTo>
                            <a:pt x="49" y="107"/>
                            <a:pt x="47" y="106"/>
                            <a:pt x="45" y="104"/>
                          </a:cubicBezTo>
                          <a:cubicBezTo>
                            <a:pt x="40" y="101"/>
                            <a:pt x="40" y="94"/>
                            <a:pt x="43" y="89"/>
                          </a:cubicBezTo>
                          <a:cubicBezTo>
                            <a:pt x="66" y="63"/>
                            <a:pt x="96" y="49"/>
                            <a:pt x="128" y="49"/>
                          </a:cubicBezTo>
                          <a:cubicBezTo>
                            <a:pt x="160" y="49"/>
                            <a:pt x="190" y="63"/>
                            <a:pt x="212" y="89"/>
                          </a:cubicBezTo>
                          <a:close/>
                        </a:path>
                      </a:pathLst>
                    </a:custGeom>
                    <a:solidFill>
                      <a:srgbClr val="062E50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xmlns="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121807" tIns="60904" rIns="121807" bIns="60904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it-IT" sz="1600" b="0" i="0" u="none" strike="noStrike" kern="0" cap="none" spc="0" normalizeH="0" baseline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24" name="Freeform 579">
                      <a:extLst>
                        <a:ext uri="{FF2B5EF4-FFF2-40B4-BE49-F238E27FC236}">
                          <a16:creationId xmlns:a16="http://schemas.microsoft.com/office/drawing/2014/main" id="{0A320BD5-72D3-6A95-A505-9CDD8D9B05F1}"/>
                        </a:ext>
                      </a:extLst>
                    </p:cNvPr>
                    <p:cNvSpPr>
                      <a:spLocks noChangeAspect="1" noEditPoints="1"/>
                    </p:cNvSpPr>
                    <p:nvPr/>
                  </p:nvSpPr>
                  <p:spPr bwMode="auto">
                    <a:xfrm>
                      <a:off x="8140013" y="3013206"/>
                      <a:ext cx="144119" cy="131989"/>
                    </a:xfrm>
                    <a:custGeom>
                      <a:avLst/>
                      <a:gdLst>
                        <a:gd name="T0" fmla="*/ 298 w 304"/>
                        <a:gd name="T1" fmla="*/ 160 h 278"/>
                        <a:gd name="T2" fmla="*/ 234 w 304"/>
                        <a:gd name="T3" fmla="*/ 96 h 278"/>
                        <a:gd name="T4" fmla="*/ 196 w 304"/>
                        <a:gd name="T5" fmla="*/ 96 h 278"/>
                        <a:gd name="T6" fmla="*/ 213 w 304"/>
                        <a:gd name="T7" fmla="*/ 46 h 278"/>
                        <a:gd name="T8" fmla="*/ 199 w 304"/>
                        <a:gd name="T9" fmla="*/ 3 h 278"/>
                        <a:gd name="T10" fmla="*/ 191 w 304"/>
                        <a:gd name="T11" fmla="*/ 0 h 278"/>
                        <a:gd name="T12" fmla="*/ 184 w 304"/>
                        <a:gd name="T13" fmla="*/ 4 h 278"/>
                        <a:gd name="T14" fmla="*/ 89 w 304"/>
                        <a:gd name="T15" fmla="*/ 112 h 278"/>
                        <a:gd name="T16" fmla="*/ 88 w 304"/>
                        <a:gd name="T17" fmla="*/ 114 h 278"/>
                        <a:gd name="T18" fmla="*/ 79 w 304"/>
                        <a:gd name="T19" fmla="*/ 128 h 278"/>
                        <a:gd name="T20" fmla="*/ 10 w 304"/>
                        <a:gd name="T21" fmla="*/ 128 h 278"/>
                        <a:gd name="T22" fmla="*/ 0 w 304"/>
                        <a:gd name="T23" fmla="*/ 139 h 278"/>
                        <a:gd name="T24" fmla="*/ 0 w 304"/>
                        <a:gd name="T25" fmla="*/ 256 h 278"/>
                        <a:gd name="T26" fmla="*/ 10 w 304"/>
                        <a:gd name="T27" fmla="*/ 267 h 278"/>
                        <a:gd name="T28" fmla="*/ 95 w 304"/>
                        <a:gd name="T29" fmla="*/ 267 h 278"/>
                        <a:gd name="T30" fmla="*/ 128 w 304"/>
                        <a:gd name="T31" fmla="*/ 278 h 278"/>
                        <a:gd name="T32" fmla="*/ 224 w 304"/>
                        <a:gd name="T33" fmla="*/ 278 h 278"/>
                        <a:gd name="T34" fmla="*/ 274 w 304"/>
                        <a:gd name="T35" fmla="*/ 256 h 278"/>
                        <a:gd name="T36" fmla="*/ 298 w 304"/>
                        <a:gd name="T37" fmla="*/ 160 h 278"/>
                        <a:gd name="T38" fmla="*/ 21 w 304"/>
                        <a:gd name="T39" fmla="*/ 150 h 278"/>
                        <a:gd name="T40" fmla="*/ 74 w 304"/>
                        <a:gd name="T41" fmla="*/ 150 h 278"/>
                        <a:gd name="T42" fmla="*/ 74 w 304"/>
                        <a:gd name="T43" fmla="*/ 150 h 278"/>
                        <a:gd name="T44" fmla="*/ 74 w 304"/>
                        <a:gd name="T45" fmla="*/ 224 h 278"/>
                        <a:gd name="T46" fmla="*/ 78 w 304"/>
                        <a:gd name="T47" fmla="*/ 246 h 278"/>
                        <a:gd name="T48" fmla="*/ 21 w 304"/>
                        <a:gd name="T49" fmla="*/ 246 h 278"/>
                        <a:gd name="T50" fmla="*/ 21 w 304"/>
                        <a:gd name="T51" fmla="*/ 150 h 278"/>
                        <a:gd name="T52" fmla="*/ 258 w 304"/>
                        <a:gd name="T53" fmla="*/ 242 h 278"/>
                        <a:gd name="T54" fmla="*/ 224 w 304"/>
                        <a:gd name="T55" fmla="*/ 256 h 278"/>
                        <a:gd name="T56" fmla="*/ 128 w 304"/>
                        <a:gd name="T57" fmla="*/ 256 h 278"/>
                        <a:gd name="T58" fmla="*/ 96 w 304"/>
                        <a:gd name="T59" fmla="*/ 224 h 278"/>
                        <a:gd name="T60" fmla="*/ 96 w 304"/>
                        <a:gd name="T61" fmla="*/ 150 h 278"/>
                        <a:gd name="T62" fmla="*/ 104 w 304"/>
                        <a:gd name="T63" fmla="*/ 127 h 278"/>
                        <a:gd name="T64" fmla="*/ 105 w 304"/>
                        <a:gd name="T65" fmla="*/ 127 h 278"/>
                        <a:gd name="T66" fmla="*/ 191 w 304"/>
                        <a:gd name="T67" fmla="*/ 28 h 278"/>
                        <a:gd name="T68" fmla="*/ 192 w 304"/>
                        <a:gd name="T69" fmla="*/ 40 h 278"/>
                        <a:gd name="T70" fmla="*/ 171 w 304"/>
                        <a:gd name="T71" fmla="*/ 104 h 278"/>
                        <a:gd name="T72" fmla="*/ 171 w 304"/>
                        <a:gd name="T73" fmla="*/ 104 h 278"/>
                        <a:gd name="T74" fmla="*/ 170 w 304"/>
                        <a:gd name="T75" fmla="*/ 107 h 278"/>
                        <a:gd name="T76" fmla="*/ 181 w 304"/>
                        <a:gd name="T77" fmla="*/ 118 h 278"/>
                        <a:gd name="T78" fmla="*/ 234 w 304"/>
                        <a:gd name="T79" fmla="*/ 118 h 278"/>
                        <a:gd name="T80" fmla="*/ 277 w 304"/>
                        <a:gd name="T81" fmla="*/ 161 h 278"/>
                        <a:gd name="T82" fmla="*/ 258 w 304"/>
                        <a:gd name="T83" fmla="*/ 242 h 27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</a:cxnLst>
                      <a:rect l="0" t="0" r="r" b="b"/>
                      <a:pathLst>
                        <a:path w="304" h="278">
                          <a:moveTo>
                            <a:pt x="298" y="160"/>
                          </a:moveTo>
                          <a:cubicBezTo>
                            <a:pt x="298" y="129"/>
                            <a:pt x="265" y="96"/>
                            <a:pt x="234" y="96"/>
                          </a:cubicBezTo>
                          <a:cubicBezTo>
                            <a:pt x="196" y="96"/>
                            <a:pt x="196" y="96"/>
                            <a:pt x="196" y="96"/>
                          </a:cubicBezTo>
                          <a:cubicBezTo>
                            <a:pt x="213" y="46"/>
                            <a:pt x="213" y="46"/>
                            <a:pt x="213" y="46"/>
                          </a:cubicBezTo>
                          <a:cubicBezTo>
                            <a:pt x="219" y="23"/>
                            <a:pt x="200" y="4"/>
                            <a:pt x="199" y="3"/>
                          </a:cubicBezTo>
                          <a:cubicBezTo>
                            <a:pt x="197" y="1"/>
                            <a:pt x="194" y="0"/>
                            <a:pt x="191" y="0"/>
                          </a:cubicBezTo>
                          <a:cubicBezTo>
                            <a:pt x="188" y="0"/>
                            <a:pt x="186" y="2"/>
                            <a:pt x="184" y="4"/>
                          </a:cubicBezTo>
                          <a:cubicBezTo>
                            <a:pt x="89" y="112"/>
                            <a:pt x="89" y="112"/>
                            <a:pt x="89" y="112"/>
                          </a:cubicBezTo>
                          <a:cubicBezTo>
                            <a:pt x="89" y="112"/>
                            <a:pt x="89" y="112"/>
                            <a:pt x="88" y="114"/>
                          </a:cubicBezTo>
                          <a:cubicBezTo>
                            <a:pt x="84" y="118"/>
                            <a:pt x="81" y="123"/>
                            <a:pt x="79" y="128"/>
                          </a:cubicBezTo>
                          <a:cubicBezTo>
                            <a:pt x="10" y="128"/>
                            <a:pt x="10" y="128"/>
                            <a:pt x="10" y="128"/>
                          </a:cubicBezTo>
                          <a:cubicBezTo>
                            <a:pt x="4" y="128"/>
                            <a:pt x="0" y="133"/>
                            <a:pt x="0" y="139"/>
                          </a:cubicBezTo>
                          <a:cubicBezTo>
                            <a:pt x="0" y="256"/>
                            <a:pt x="0" y="256"/>
                            <a:pt x="0" y="256"/>
                          </a:cubicBezTo>
                          <a:cubicBezTo>
                            <a:pt x="0" y="262"/>
                            <a:pt x="4" y="267"/>
                            <a:pt x="10" y="267"/>
                          </a:cubicBezTo>
                          <a:cubicBezTo>
                            <a:pt x="95" y="267"/>
                            <a:pt x="95" y="267"/>
                            <a:pt x="95" y="267"/>
                          </a:cubicBezTo>
                          <a:cubicBezTo>
                            <a:pt x="104" y="274"/>
                            <a:pt x="115" y="278"/>
                            <a:pt x="128" y="278"/>
                          </a:cubicBezTo>
                          <a:cubicBezTo>
                            <a:pt x="224" y="278"/>
                            <a:pt x="224" y="278"/>
                            <a:pt x="224" y="278"/>
                          </a:cubicBezTo>
                          <a:cubicBezTo>
                            <a:pt x="244" y="278"/>
                            <a:pt x="261" y="271"/>
                            <a:pt x="274" y="256"/>
                          </a:cubicBezTo>
                          <a:cubicBezTo>
                            <a:pt x="304" y="223"/>
                            <a:pt x="299" y="162"/>
                            <a:pt x="298" y="160"/>
                          </a:cubicBezTo>
                          <a:close/>
                          <a:moveTo>
                            <a:pt x="21" y="150"/>
                          </a:moveTo>
                          <a:cubicBezTo>
                            <a:pt x="74" y="150"/>
                            <a:pt x="74" y="150"/>
                            <a:pt x="74" y="150"/>
                          </a:cubicBezTo>
                          <a:cubicBezTo>
                            <a:pt x="74" y="150"/>
                            <a:pt x="74" y="150"/>
                            <a:pt x="74" y="150"/>
                          </a:cubicBezTo>
                          <a:cubicBezTo>
                            <a:pt x="74" y="224"/>
                            <a:pt x="74" y="224"/>
                            <a:pt x="74" y="224"/>
                          </a:cubicBezTo>
                          <a:cubicBezTo>
                            <a:pt x="74" y="232"/>
                            <a:pt x="76" y="239"/>
                            <a:pt x="78" y="246"/>
                          </a:cubicBezTo>
                          <a:cubicBezTo>
                            <a:pt x="21" y="246"/>
                            <a:pt x="21" y="246"/>
                            <a:pt x="21" y="246"/>
                          </a:cubicBezTo>
                          <a:lnTo>
                            <a:pt x="21" y="150"/>
                          </a:lnTo>
                          <a:close/>
                          <a:moveTo>
                            <a:pt x="258" y="242"/>
                          </a:moveTo>
                          <a:cubicBezTo>
                            <a:pt x="250" y="252"/>
                            <a:pt x="238" y="256"/>
                            <a:pt x="224" y="256"/>
                          </a:cubicBezTo>
                          <a:cubicBezTo>
                            <a:pt x="128" y="256"/>
                            <a:pt x="128" y="256"/>
                            <a:pt x="128" y="256"/>
                          </a:cubicBezTo>
                          <a:cubicBezTo>
                            <a:pt x="109" y="256"/>
                            <a:pt x="96" y="243"/>
                            <a:pt x="96" y="224"/>
                          </a:cubicBezTo>
                          <a:cubicBezTo>
                            <a:pt x="96" y="150"/>
                            <a:pt x="96" y="150"/>
                            <a:pt x="96" y="150"/>
                          </a:cubicBezTo>
                          <a:cubicBezTo>
                            <a:pt x="96" y="142"/>
                            <a:pt x="99" y="134"/>
                            <a:pt x="104" y="127"/>
                          </a:cubicBezTo>
                          <a:cubicBezTo>
                            <a:pt x="105" y="127"/>
                            <a:pt x="105" y="127"/>
                            <a:pt x="105" y="127"/>
                          </a:cubicBezTo>
                          <a:cubicBezTo>
                            <a:pt x="191" y="28"/>
                            <a:pt x="191" y="28"/>
                            <a:pt x="191" y="28"/>
                          </a:cubicBezTo>
                          <a:cubicBezTo>
                            <a:pt x="192" y="32"/>
                            <a:pt x="193" y="36"/>
                            <a:pt x="192" y="40"/>
                          </a:cubicBezTo>
                          <a:cubicBezTo>
                            <a:pt x="171" y="104"/>
                            <a:pt x="171" y="104"/>
                            <a:pt x="171" y="104"/>
                          </a:cubicBezTo>
                          <a:cubicBezTo>
                            <a:pt x="171" y="104"/>
                            <a:pt x="171" y="104"/>
                            <a:pt x="171" y="104"/>
                          </a:cubicBezTo>
                          <a:cubicBezTo>
                            <a:pt x="171" y="105"/>
                            <a:pt x="170" y="106"/>
                            <a:pt x="170" y="107"/>
                          </a:cubicBezTo>
                          <a:cubicBezTo>
                            <a:pt x="170" y="113"/>
                            <a:pt x="175" y="118"/>
                            <a:pt x="181" y="118"/>
                          </a:cubicBezTo>
                          <a:cubicBezTo>
                            <a:pt x="234" y="118"/>
                            <a:pt x="234" y="118"/>
                            <a:pt x="234" y="118"/>
                          </a:cubicBezTo>
                          <a:cubicBezTo>
                            <a:pt x="253" y="118"/>
                            <a:pt x="277" y="141"/>
                            <a:pt x="277" y="161"/>
                          </a:cubicBezTo>
                          <a:cubicBezTo>
                            <a:pt x="277" y="162"/>
                            <a:pt x="282" y="216"/>
                            <a:pt x="258" y="242"/>
                          </a:cubicBezTo>
                          <a:close/>
                        </a:path>
                      </a:pathLst>
                    </a:custGeom>
                    <a:solidFill>
                      <a:srgbClr val="062E50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xmlns="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121807" tIns="60904" rIns="121807" bIns="60904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it-IT" sz="1600" b="0" i="0" u="none" strike="noStrike" kern="0" cap="none" spc="0" normalizeH="0" baseline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25" name="Freeform 290">
                      <a:extLst>
                        <a:ext uri="{FF2B5EF4-FFF2-40B4-BE49-F238E27FC236}">
                          <a16:creationId xmlns:a16="http://schemas.microsoft.com/office/drawing/2014/main" id="{90E823E0-5600-AF9B-2794-8F1375AE86B0}"/>
                        </a:ext>
                      </a:extLst>
                    </p:cNvPr>
                    <p:cNvSpPr>
                      <a:spLocks noChangeAspect="1" noEditPoints="1"/>
                    </p:cNvSpPr>
                    <p:nvPr/>
                  </p:nvSpPr>
                  <p:spPr bwMode="auto">
                    <a:xfrm>
                      <a:off x="7838251" y="3024722"/>
                      <a:ext cx="144350" cy="131487"/>
                    </a:xfrm>
                    <a:custGeom>
                      <a:avLst/>
                      <a:gdLst>
                        <a:gd name="T0" fmla="*/ 294 w 304"/>
                        <a:gd name="T1" fmla="*/ 11 h 278"/>
                        <a:gd name="T2" fmla="*/ 209 w 304"/>
                        <a:gd name="T3" fmla="*/ 11 h 278"/>
                        <a:gd name="T4" fmla="*/ 177 w 304"/>
                        <a:gd name="T5" fmla="*/ 0 h 278"/>
                        <a:gd name="T6" fmla="*/ 81 w 304"/>
                        <a:gd name="T7" fmla="*/ 0 h 278"/>
                        <a:gd name="T8" fmla="*/ 31 w 304"/>
                        <a:gd name="T9" fmla="*/ 22 h 278"/>
                        <a:gd name="T10" fmla="*/ 6 w 304"/>
                        <a:gd name="T11" fmla="*/ 118 h 278"/>
                        <a:gd name="T12" fmla="*/ 70 w 304"/>
                        <a:gd name="T13" fmla="*/ 182 h 278"/>
                        <a:gd name="T14" fmla="*/ 108 w 304"/>
                        <a:gd name="T15" fmla="*/ 182 h 278"/>
                        <a:gd name="T16" fmla="*/ 92 w 304"/>
                        <a:gd name="T17" fmla="*/ 232 h 278"/>
                        <a:gd name="T18" fmla="*/ 105 w 304"/>
                        <a:gd name="T19" fmla="*/ 275 h 278"/>
                        <a:gd name="T20" fmla="*/ 113 w 304"/>
                        <a:gd name="T21" fmla="*/ 278 h 278"/>
                        <a:gd name="T22" fmla="*/ 113 w 304"/>
                        <a:gd name="T23" fmla="*/ 278 h 278"/>
                        <a:gd name="T24" fmla="*/ 121 w 304"/>
                        <a:gd name="T25" fmla="*/ 274 h 278"/>
                        <a:gd name="T26" fmla="*/ 216 w 304"/>
                        <a:gd name="T27" fmla="*/ 164 h 278"/>
                        <a:gd name="T28" fmla="*/ 216 w 304"/>
                        <a:gd name="T29" fmla="*/ 164 h 278"/>
                        <a:gd name="T30" fmla="*/ 216 w 304"/>
                        <a:gd name="T31" fmla="*/ 164 h 278"/>
                        <a:gd name="T32" fmla="*/ 225 w 304"/>
                        <a:gd name="T33" fmla="*/ 150 h 278"/>
                        <a:gd name="T34" fmla="*/ 294 w 304"/>
                        <a:gd name="T35" fmla="*/ 150 h 278"/>
                        <a:gd name="T36" fmla="*/ 304 w 304"/>
                        <a:gd name="T37" fmla="*/ 139 h 278"/>
                        <a:gd name="T38" fmla="*/ 304 w 304"/>
                        <a:gd name="T39" fmla="*/ 22 h 278"/>
                        <a:gd name="T40" fmla="*/ 294 w 304"/>
                        <a:gd name="T41" fmla="*/ 11 h 278"/>
                        <a:gd name="T42" fmla="*/ 114 w 304"/>
                        <a:gd name="T43" fmla="*/ 250 h 278"/>
                        <a:gd name="T44" fmla="*/ 112 w 304"/>
                        <a:gd name="T45" fmla="*/ 238 h 278"/>
                        <a:gd name="T46" fmla="*/ 133 w 304"/>
                        <a:gd name="T47" fmla="*/ 174 h 278"/>
                        <a:gd name="T48" fmla="*/ 133 w 304"/>
                        <a:gd name="T49" fmla="*/ 174 h 278"/>
                        <a:gd name="T50" fmla="*/ 134 w 304"/>
                        <a:gd name="T51" fmla="*/ 171 h 278"/>
                        <a:gd name="T52" fmla="*/ 123 w 304"/>
                        <a:gd name="T53" fmla="*/ 160 h 278"/>
                        <a:gd name="T54" fmla="*/ 70 w 304"/>
                        <a:gd name="T55" fmla="*/ 160 h 278"/>
                        <a:gd name="T56" fmla="*/ 27 w 304"/>
                        <a:gd name="T57" fmla="*/ 117 h 278"/>
                        <a:gd name="T58" fmla="*/ 46 w 304"/>
                        <a:gd name="T59" fmla="*/ 36 h 278"/>
                        <a:gd name="T60" fmla="*/ 81 w 304"/>
                        <a:gd name="T61" fmla="*/ 22 h 278"/>
                        <a:gd name="T62" fmla="*/ 177 w 304"/>
                        <a:gd name="T63" fmla="*/ 22 h 278"/>
                        <a:gd name="T64" fmla="*/ 208 w 304"/>
                        <a:gd name="T65" fmla="*/ 54 h 278"/>
                        <a:gd name="T66" fmla="*/ 208 w 304"/>
                        <a:gd name="T67" fmla="*/ 128 h 278"/>
                        <a:gd name="T68" fmla="*/ 200 w 304"/>
                        <a:gd name="T69" fmla="*/ 150 h 278"/>
                        <a:gd name="T70" fmla="*/ 114 w 304"/>
                        <a:gd name="T71" fmla="*/ 250 h 278"/>
                        <a:gd name="T72" fmla="*/ 283 w 304"/>
                        <a:gd name="T73" fmla="*/ 128 h 278"/>
                        <a:gd name="T74" fmla="*/ 230 w 304"/>
                        <a:gd name="T75" fmla="*/ 128 h 278"/>
                        <a:gd name="T76" fmla="*/ 230 w 304"/>
                        <a:gd name="T77" fmla="*/ 128 h 278"/>
                        <a:gd name="T78" fmla="*/ 230 w 304"/>
                        <a:gd name="T79" fmla="*/ 54 h 278"/>
                        <a:gd name="T80" fmla="*/ 226 w 304"/>
                        <a:gd name="T81" fmla="*/ 32 h 278"/>
                        <a:gd name="T82" fmla="*/ 283 w 304"/>
                        <a:gd name="T83" fmla="*/ 32 h 278"/>
                        <a:gd name="T84" fmla="*/ 283 w 304"/>
                        <a:gd name="T85" fmla="*/ 128 h 27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</a:cxnLst>
                      <a:rect l="0" t="0" r="r" b="b"/>
                      <a:pathLst>
                        <a:path w="304" h="278">
                          <a:moveTo>
                            <a:pt x="294" y="11"/>
                          </a:moveTo>
                          <a:cubicBezTo>
                            <a:pt x="209" y="11"/>
                            <a:pt x="209" y="11"/>
                            <a:pt x="209" y="11"/>
                          </a:cubicBezTo>
                          <a:cubicBezTo>
                            <a:pt x="201" y="4"/>
                            <a:pt x="190" y="0"/>
                            <a:pt x="177" y="0"/>
                          </a:cubicBezTo>
                          <a:cubicBezTo>
                            <a:pt x="81" y="0"/>
                            <a:pt x="81" y="0"/>
                            <a:pt x="81" y="0"/>
                          </a:cubicBezTo>
                          <a:cubicBezTo>
                            <a:pt x="60" y="0"/>
                            <a:pt x="43" y="7"/>
                            <a:pt x="31" y="22"/>
                          </a:cubicBezTo>
                          <a:cubicBezTo>
                            <a:pt x="0" y="55"/>
                            <a:pt x="6" y="116"/>
                            <a:pt x="6" y="118"/>
                          </a:cubicBezTo>
                          <a:cubicBezTo>
                            <a:pt x="6" y="149"/>
                            <a:pt x="39" y="182"/>
                            <a:pt x="70" y="182"/>
                          </a:cubicBezTo>
                          <a:cubicBezTo>
                            <a:pt x="108" y="182"/>
                            <a:pt x="108" y="182"/>
                            <a:pt x="108" y="182"/>
                          </a:cubicBezTo>
                          <a:cubicBezTo>
                            <a:pt x="92" y="232"/>
                            <a:pt x="92" y="232"/>
                            <a:pt x="92" y="232"/>
                          </a:cubicBezTo>
                          <a:cubicBezTo>
                            <a:pt x="86" y="255"/>
                            <a:pt x="105" y="274"/>
                            <a:pt x="105" y="275"/>
                          </a:cubicBezTo>
                          <a:cubicBezTo>
                            <a:pt x="107" y="277"/>
                            <a:pt x="110" y="278"/>
                            <a:pt x="113" y="278"/>
                          </a:cubicBezTo>
                          <a:cubicBezTo>
                            <a:pt x="113" y="278"/>
                            <a:pt x="113" y="278"/>
                            <a:pt x="113" y="278"/>
                          </a:cubicBezTo>
                          <a:cubicBezTo>
                            <a:pt x="116" y="278"/>
                            <a:pt x="119" y="276"/>
                            <a:pt x="121" y="274"/>
                          </a:cubicBezTo>
                          <a:cubicBezTo>
                            <a:pt x="216" y="164"/>
                            <a:pt x="216" y="164"/>
                            <a:pt x="216" y="164"/>
                          </a:cubicBezTo>
                          <a:cubicBezTo>
                            <a:pt x="216" y="164"/>
                            <a:pt x="216" y="164"/>
                            <a:pt x="216" y="164"/>
                          </a:cubicBezTo>
                          <a:cubicBezTo>
                            <a:pt x="216" y="164"/>
                            <a:pt x="216" y="164"/>
                            <a:pt x="216" y="164"/>
                          </a:cubicBezTo>
                          <a:cubicBezTo>
                            <a:pt x="220" y="160"/>
                            <a:pt x="223" y="155"/>
                            <a:pt x="225" y="150"/>
                          </a:cubicBezTo>
                          <a:cubicBezTo>
                            <a:pt x="294" y="150"/>
                            <a:pt x="294" y="150"/>
                            <a:pt x="294" y="150"/>
                          </a:cubicBezTo>
                          <a:cubicBezTo>
                            <a:pt x="300" y="150"/>
                            <a:pt x="304" y="145"/>
                            <a:pt x="304" y="139"/>
                          </a:cubicBezTo>
                          <a:cubicBezTo>
                            <a:pt x="304" y="22"/>
                            <a:pt x="304" y="22"/>
                            <a:pt x="304" y="22"/>
                          </a:cubicBezTo>
                          <a:cubicBezTo>
                            <a:pt x="304" y="16"/>
                            <a:pt x="300" y="11"/>
                            <a:pt x="294" y="11"/>
                          </a:cubicBezTo>
                          <a:close/>
                          <a:moveTo>
                            <a:pt x="114" y="250"/>
                          </a:moveTo>
                          <a:cubicBezTo>
                            <a:pt x="112" y="246"/>
                            <a:pt x="111" y="242"/>
                            <a:pt x="112" y="238"/>
                          </a:cubicBezTo>
                          <a:cubicBezTo>
                            <a:pt x="133" y="174"/>
                            <a:pt x="133" y="174"/>
                            <a:pt x="133" y="174"/>
                          </a:cubicBezTo>
                          <a:cubicBezTo>
                            <a:pt x="133" y="174"/>
                            <a:pt x="133" y="174"/>
                            <a:pt x="133" y="174"/>
                          </a:cubicBezTo>
                          <a:cubicBezTo>
                            <a:pt x="133" y="173"/>
                            <a:pt x="134" y="172"/>
                            <a:pt x="134" y="171"/>
                          </a:cubicBezTo>
                          <a:cubicBezTo>
                            <a:pt x="134" y="165"/>
                            <a:pt x="129" y="160"/>
                            <a:pt x="123" y="160"/>
                          </a:cubicBezTo>
                          <a:cubicBezTo>
                            <a:pt x="70" y="160"/>
                            <a:pt x="70" y="160"/>
                            <a:pt x="70" y="160"/>
                          </a:cubicBezTo>
                          <a:cubicBezTo>
                            <a:pt x="51" y="160"/>
                            <a:pt x="28" y="137"/>
                            <a:pt x="27" y="117"/>
                          </a:cubicBezTo>
                          <a:cubicBezTo>
                            <a:pt x="27" y="116"/>
                            <a:pt x="22" y="62"/>
                            <a:pt x="46" y="36"/>
                          </a:cubicBezTo>
                          <a:cubicBezTo>
                            <a:pt x="55" y="26"/>
                            <a:pt x="66" y="22"/>
                            <a:pt x="81" y="22"/>
                          </a:cubicBezTo>
                          <a:cubicBezTo>
                            <a:pt x="177" y="22"/>
                            <a:pt x="177" y="22"/>
                            <a:pt x="177" y="22"/>
                          </a:cubicBezTo>
                          <a:cubicBezTo>
                            <a:pt x="196" y="22"/>
                            <a:pt x="208" y="34"/>
                            <a:pt x="208" y="54"/>
                          </a:cubicBezTo>
                          <a:cubicBezTo>
                            <a:pt x="208" y="128"/>
                            <a:pt x="208" y="128"/>
                            <a:pt x="208" y="128"/>
                          </a:cubicBezTo>
                          <a:cubicBezTo>
                            <a:pt x="208" y="136"/>
                            <a:pt x="205" y="144"/>
                            <a:pt x="200" y="150"/>
                          </a:cubicBezTo>
                          <a:lnTo>
                            <a:pt x="114" y="250"/>
                          </a:lnTo>
                          <a:close/>
                          <a:moveTo>
                            <a:pt x="283" y="128"/>
                          </a:moveTo>
                          <a:cubicBezTo>
                            <a:pt x="230" y="128"/>
                            <a:pt x="230" y="128"/>
                            <a:pt x="230" y="128"/>
                          </a:cubicBezTo>
                          <a:cubicBezTo>
                            <a:pt x="230" y="128"/>
                            <a:pt x="230" y="128"/>
                            <a:pt x="230" y="128"/>
                          </a:cubicBezTo>
                          <a:cubicBezTo>
                            <a:pt x="230" y="54"/>
                            <a:pt x="230" y="54"/>
                            <a:pt x="230" y="54"/>
                          </a:cubicBezTo>
                          <a:cubicBezTo>
                            <a:pt x="230" y="46"/>
                            <a:pt x="228" y="39"/>
                            <a:pt x="226" y="32"/>
                          </a:cubicBezTo>
                          <a:cubicBezTo>
                            <a:pt x="283" y="32"/>
                            <a:pt x="283" y="32"/>
                            <a:pt x="283" y="32"/>
                          </a:cubicBezTo>
                          <a:lnTo>
                            <a:pt x="283" y="128"/>
                          </a:lnTo>
                          <a:close/>
                        </a:path>
                      </a:pathLst>
                    </a:custGeom>
                    <a:solidFill>
                      <a:srgbClr val="062E50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xmlns="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121807" tIns="60904" rIns="121807" bIns="60904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it-IT" sz="1600" b="0" i="0" u="none" strike="noStrike" kern="0" cap="none" spc="0" normalizeH="0" baseline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</p:grpSp>
            </p:grpSp>
          </p:grpSp>
          <p:cxnSp>
            <p:nvCxnSpPr>
              <p:cNvPr id="16" name="Straight Connector 15">
                <a:extLst>
                  <a:ext uri="{FF2B5EF4-FFF2-40B4-BE49-F238E27FC236}">
                    <a16:creationId xmlns:a16="http://schemas.microsoft.com/office/drawing/2014/main" id="{63D6BC42-8CE2-657D-22CB-2211C536291A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8394913" y="3213592"/>
                <a:ext cx="0" cy="1398069"/>
              </a:xfrm>
              <a:prstGeom prst="line">
                <a:avLst/>
              </a:prstGeom>
              <a:noFill/>
              <a:ln w="9525" cap="flat" cmpd="sng" algn="ctr">
                <a:solidFill>
                  <a:srgbClr val="006DDA"/>
                </a:solidFill>
                <a:prstDash val="dash"/>
              </a:ln>
              <a:effectLst/>
            </p:spPr>
          </p:cxnSp>
          <p:sp>
            <p:nvSpPr>
              <p:cNvPr id="17" name="TextBox 16">
                <a:extLst>
                  <a:ext uri="{FF2B5EF4-FFF2-40B4-BE49-F238E27FC236}">
                    <a16:creationId xmlns:a16="http://schemas.microsoft.com/office/drawing/2014/main" id="{B1CE4E84-12B7-DB6B-DE82-31A63C68940E}"/>
                  </a:ext>
                </a:extLst>
              </p:cNvPr>
              <p:cNvSpPr txBox="1"/>
              <p:nvPr/>
            </p:nvSpPr>
            <p:spPr>
              <a:xfrm>
                <a:off x="5259674" y="4050498"/>
                <a:ext cx="3052889" cy="537872"/>
              </a:xfrm>
              <a:prstGeom prst="rect">
                <a:avLst/>
              </a:prstGeom>
              <a:noFill/>
            </p:spPr>
            <p:txBody>
              <a:bodyPr wrap="square" lIns="36000" rIns="36000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00" b="0" i="0" u="none" strike="noStrike" kern="0" cap="none" spc="0" normalizeH="0" baseline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</a:rPr>
                  <a:t>If the speed is too high or too low, the emissions per km are higher</a:t>
                </a:r>
              </a:p>
            </p:txBody>
          </p:sp>
          <p:sp>
            <p:nvSpPr>
              <p:cNvPr id="18" name="TextBox 17">
                <a:extLst>
                  <a:ext uri="{FF2B5EF4-FFF2-40B4-BE49-F238E27FC236}">
                    <a16:creationId xmlns:a16="http://schemas.microsoft.com/office/drawing/2014/main" id="{899C49DE-3BBC-86C2-D8DF-432449384974}"/>
                  </a:ext>
                </a:extLst>
              </p:cNvPr>
              <p:cNvSpPr txBox="1"/>
              <p:nvPr/>
            </p:nvSpPr>
            <p:spPr>
              <a:xfrm>
                <a:off x="8656845" y="4050498"/>
                <a:ext cx="2693730" cy="537872"/>
              </a:xfrm>
              <a:prstGeom prst="rect">
                <a:avLst/>
              </a:prstGeom>
              <a:noFill/>
            </p:spPr>
            <p:txBody>
              <a:bodyPr wrap="square" lIns="36000" rIns="36000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00" b="0" i="0" u="none" strike="noStrike" kern="0" cap="none" spc="0" normalizeH="0" baseline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</a:rPr>
                  <a:t>An aggressive driving style increases emissions</a:t>
                </a:r>
                <a:endParaRPr kumimoji="0" lang="it-IT" sz="1000" b="0" i="0" u="none" strike="noStrike" kern="0" cap="none" spc="0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</p:grpSp>
      </p:grpSp>
      <p:grpSp>
        <p:nvGrpSpPr>
          <p:cNvPr id="56" name="Group 55">
            <a:extLst>
              <a:ext uri="{FF2B5EF4-FFF2-40B4-BE49-F238E27FC236}">
                <a16:creationId xmlns:a16="http://schemas.microsoft.com/office/drawing/2014/main" id="{B764ABE0-F0CE-872B-6B29-549FCEC44DC5}"/>
              </a:ext>
            </a:extLst>
          </p:cNvPr>
          <p:cNvGrpSpPr/>
          <p:nvPr/>
        </p:nvGrpSpPr>
        <p:grpSpPr>
          <a:xfrm>
            <a:off x="304688" y="798116"/>
            <a:ext cx="1504800" cy="957600"/>
            <a:chOff x="304688" y="951011"/>
            <a:chExt cx="1504800" cy="957600"/>
          </a:xfrm>
        </p:grpSpPr>
        <p:pic>
          <p:nvPicPr>
            <p:cNvPr id="31" name="Picture 30">
              <a:extLst>
                <a:ext uri="{FF2B5EF4-FFF2-40B4-BE49-F238E27FC236}">
                  <a16:creationId xmlns:a16="http://schemas.microsoft.com/office/drawing/2014/main" id="{59E7C3D4-9DA7-9970-2DA3-B9122CA68E3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8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04688" y="951011"/>
              <a:ext cx="1503376" cy="956286"/>
            </a:xfrm>
            <a:custGeom>
              <a:avLst/>
              <a:gdLst>
                <a:gd name="connsiteX0" fmla="*/ 0 w 1080000"/>
                <a:gd name="connsiteY0" fmla="*/ 0 h 686979"/>
                <a:gd name="connsiteX1" fmla="*/ 1080000 w 1080000"/>
                <a:gd name="connsiteY1" fmla="*/ 0 h 686979"/>
                <a:gd name="connsiteX2" fmla="*/ 1080000 w 1080000"/>
                <a:gd name="connsiteY2" fmla="*/ 686979 h 686979"/>
                <a:gd name="connsiteX3" fmla="*/ 0 w 1080000"/>
                <a:gd name="connsiteY3" fmla="*/ 686979 h 6869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80000" h="686979">
                  <a:moveTo>
                    <a:pt x="0" y="0"/>
                  </a:moveTo>
                  <a:lnTo>
                    <a:pt x="1080000" y="0"/>
                  </a:lnTo>
                  <a:lnTo>
                    <a:pt x="1080000" y="686979"/>
                  </a:lnTo>
                  <a:lnTo>
                    <a:pt x="0" y="686979"/>
                  </a:lnTo>
                  <a:close/>
                </a:path>
              </a:pathLst>
            </a:custGeom>
            <a:solidFill>
              <a:srgbClr val="FFFFFF"/>
            </a:solidFill>
            <a:ln>
              <a:solidFill>
                <a:schemeClr val="tx1"/>
              </a:solidFill>
              <a:extLst>
                <a:ext uri="{C807C97D-BFC1-408E-A445-0C87EB9F89A2}">
                  <ask:lineSketchStyleProps xmlns:ask="http://schemas.microsoft.com/office/drawing/2018/sketchyshapes">
                    <ask:type>
                      <ask:lineSketchNone/>
                    </ask:type>
                  </ask:lineSketchStyleProps>
                </a:ext>
              </a:extLst>
            </a:ln>
          </p:spPr>
        </p:pic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8813E163-05F2-F7D6-4B4E-C381DF595ECD}"/>
                </a:ext>
              </a:extLst>
            </p:cNvPr>
            <p:cNvSpPr/>
            <p:nvPr/>
          </p:nvSpPr>
          <p:spPr>
            <a:xfrm>
              <a:off x="304688" y="951011"/>
              <a:ext cx="1504800" cy="957600"/>
            </a:xfrm>
            <a:prstGeom prst="rect">
              <a:avLst/>
            </a:prstGeom>
            <a:noFill/>
            <a:ln w="25400" cap="flat" cmpd="sng" algn="ctr">
              <a:solidFill>
                <a:srgbClr val="004890"/>
              </a:solidFill>
              <a:prstDash val="solid"/>
              <a:extLst>
                <a:ext uri="{C807C97D-BFC1-408E-A445-0C87EB9F89A2}">
                  <ask:lineSketchStyleProps xmlns:ask="http://schemas.microsoft.com/office/drawing/2018/sketchyshapes" sd="3110503010">
                    <a:custGeom>
                      <a:avLst/>
                      <a:gdLst>
                        <a:gd name="connsiteX0" fmla="*/ 0 w 2106355"/>
                        <a:gd name="connsiteY0" fmla="*/ 0 h 1339835"/>
                        <a:gd name="connsiteX1" fmla="*/ 526589 w 2106355"/>
                        <a:gd name="connsiteY1" fmla="*/ 0 h 1339835"/>
                        <a:gd name="connsiteX2" fmla="*/ 1053178 w 2106355"/>
                        <a:gd name="connsiteY2" fmla="*/ 0 h 1339835"/>
                        <a:gd name="connsiteX3" fmla="*/ 1558703 w 2106355"/>
                        <a:gd name="connsiteY3" fmla="*/ 0 h 1339835"/>
                        <a:gd name="connsiteX4" fmla="*/ 2106355 w 2106355"/>
                        <a:gd name="connsiteY4" fmla="*/ 0 h 1339835"/>
                        <a:gd name="connsiteX5" fmla="*/ 2106355 w 2106355"/>
                        <a:gd name="connsiteY5" fmla="*/ 419815 h 1339835"/>
                        <a:gd name="connsiteX6" fmla="*/ 2106355 w 2106355"/>
                        <a:gd name="connsiteY6" fmla="*/ 826232 h 1339835"/>
                        <a:gd name="connsiteX7" fmla="*/ 2106355 w 2106355"/>
                        <a:gd name="connsiteY7" fmla="*/ 1339835 h 1339835"/>
                        <a:gd name="connsiteX8" fmla="*/ 1642957 w 2106355"/>
                        <a:gd name="connsiteY8" fmla="*/ 1339835 h 1339835"/>
                        <a:gd name="connsiteX9" fmla="*/ 1179559 w 2106355"/>
                        <a:gd name="connsiteY9" fmla="*/ 1339835 h 1339835"/>
                        <a:gd name="connsiteX10" fmla="*/ 652970 w 2106355"/>
                        <a:gd name="connsiteY10" fmla="*/ 1339835 h 1339835"/>
                        <a:gd name="connsiteX11" fmla="*/ 0 w 2106355"/>
                        <a:gd name="connsiteY11" fmla="*/ 1339835 h 1339835"/>
                        <a:gd name="connsiteX12" fmla="*/ 0 w 2106355"/>
                        <a:gd name="connsiteY12" fmla="*/ 866427 h 1339835"/>
                        <a:gd name="connsiteX13" fmla="*/ 0 w 2106355"/>
                        <a:gd name="connsiteY13" fmla="*/ 419815 h 1339835"/>
                        <a:gd name="connsiteX14" fmla="*/ 0 w 2106355"/>
                        <a:gd name="connsiteY14" fmla="*/ 0 h 1339835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</a:cxnLst>
                      <a:rect l="l" t="t" r="r" b="b"/>
                      <a:pathLst>
                        <a:path w="2106355" h="1339835" fill="none" extrusionOk="0">
                          <a:moveTo>
                            <a:pt x="0" y="0"/>
                          </a:moveTo>
                          <a:cubicBezTo>
                            <a:pt x="248121" y="-59363"/>
                            <a:pt x="298696" y="26901"/>
                            <a:pt x="526589" y="0"/>
                          </a:cubicBezTo>
                          <a:cubicBezTo>
                            <a:pt x="754482" y="-26901"/>
                            <a:pt x="885695" y="51503"/>
                            <a:pt x="1053178" y="0"/>
                          </a:cubicBezTo>
                          <a:cubicBezTo>
                            <a:pt x="1220661" y="-51503"/>
                            <a:pt x="1429929" y="47706"/>
                            <a:pt x="1558703" y="0"/>
                          </a:cubicBezTo>
                          <a:cubicBezTo>
                            <a:pt x="1687477" y="-47706"/>
                            <a:pt x="1887291" y="26685"/>
                            <a:pt x="2106355" y="0"/>
                          </a:cubicBezTo>
                          <a:cubicBezTo>
                            <a:pt x="2130412" y="164075"/>
                            <a:pt x="2105095" y="237107"/>
                            <a:pt x="2106355" y="419815"/>
                          </a:cubicBezTo>
                          <a:cubicBezTo>
                            <a:pt x="2107615" y="602523"/>
                            <a:pt x="2096157" y="662577"/>
                            <a:pt x="2106355" y="826232"/>
                          </a:cubicBezTo>
                          <a:cubicBezTo>
                            <a:pt x="2116553" y="989887"/>
                            <a:pt x="2104070" y="1098461"/>
                            <a:pt x="2106355" y="1339835"/>
                          </a:cubicBezTo>
                          <a:cubicBezTo>
                            <a:pt x="1943792" y="1343109"/>
                            <a:pt x="1760772" y="1305525"/>
                            <a:pt x="1642957" y="1339835"/>
                          </a:cubicBezTo>
                          <a:cubicBezTo>
                            <a:pt x="1525142" y="1374145"/>
                            <a:pt x="1279627" y="1297677"/>
                            <a:pt x="1179559" y="1339835"/>
                          </a:cubicBezTo>
                          <a:cubicBezTo>
                            <a:pt x="1079491" y="1381993"/>
                            <a:pt x="831879" y="1291902"/>
                            <a:pt x="652970" y="1339835"/>
                          </a:cubicBezTo>
                          <a:cubicBezTo>
                            <a:pt x="474061" y="1387768"/>
                            <a:pt x="153400" y="1277774"/>
                            <a:pt x="0" y="1339835"/>
                          </a:cubicBezTo>
                          <a:cubicBezTo>
                            <a:pt x="-10238" y="1154633"/>
                            <a:pt x="25709" y="1093671"/>
                            <a:pt x="0" y="866427"/>
                          </a:cubicBezTo>
                          <a:cubicBezTo>
                            <a:pt x="-25709" y="639183"/>
                            <a:pt x="14989" y="521465"/>
                            <a:pt x="0" y="419815"/>
                          </a:cubicBezTo>
                          <a:cubicBezTo>
                            <a:pt x="-14989" y="318165"/>
                            <a:pt x="4158" y="168422"/>
                            <a:pt x="0" y="0"/>
                          </a:cubicBezTo>
                          <a:close/>
                        </a:path>
                        <a:path w="2106355" h="1339835" stroke="0" extrusionOk="0">
                          <a:moveTo>
                            <a:pt x="0" y="0"/>
                          </a:moveTo>
                          <a:cubicBezTo>
                            <a:pt x="110048" y="-9232"/>
                            <a:pt x="368967" y="39010"/>
                            <a:pt x="463398" y="0"/>
                          </a:cubicBezTo>
                          <a:cubicBezTo>
                            <a:pt x="557829" y="-39010"/>
                            <a:pt x="717007" y="49475"/>
                            <a:pt x="947860" y="0"/>
                          </a:cubicBezTo>
                          <a:cubicBezTo>
                            <a:pt x="1178713" y="-49475"/>
                            <a:pt x="1232089" y="27393"/>
                            <a:pt x="1474449" y="0"/>
                          </a:cubicBezTo>
                          <a:cubicBezTo>
                            <a:pt x="1716809" y="-27393"/>
                            <a:pt x="1809842" y="7153"/>
                            <a:pt x="2106355" y="0"/>
                          </a:cubicBezTo>
                          <a:cubicBezTo>
                            <a:pt x="2114173" y="173858"/>
                            <a:pt x="2064711" y="263717"/>
                            <a:pt x="2106355" y="473408"/>
                          </a:cubicBezTo>
                          <a:cubicBezTo>
                            <a:pt x="2147999" y="683099"/>
                            <a:pt x="2075083" y="738423"/>
                            <a:pt x="2106355" y="893223"/>
                          </a:cubicBezTo>
                          <a:cubicBezTo>
                            <a:pt x="2137627" y="1048024"/>
                            <a:pt x="2069157" y="1123517"/>
                            <a:pt x="2106355" y="1339835"/>
                          </a:cubicBezTo>
                          <a:cubicBezTo>
                            <a:pt x="1998049" y="1385736"/>
                            <a:pt x="1739476" y="1312107"/>
                            <a:pt x="1600830" y="1339835"/>
                          </a:cubicBezTo>
                          <a:cubicBezTo>
                            <a:pt x="1462184" y="1367563"/>
                            <a:pt x="1264182" y="1311504"/>
                            <a:pt x="1074241" y="1339835"/>
                          </a:cubicBezTo>
                          <a:cubicBezTo>
                            <a:pt x="884300" y="1368166"/>
                            <a:pt x="673387" y="1329454"/>
                            <a:pt x="568716" y="1339835"/>
                          </a:cubicBezTo>
                          <a:cubicBezTo>
                            <a:pt x="464045" y="1350216"/>
                            <a:pt x="199569" y="1309984"/>
                            <a:pt x="0" y="1339835"/>
                          </a:cubicBezTo>
                          <a:cubicBezTo>
                            <a:pt x="-16477" y="1183922"/>
                            <a:pt x="41420" y="1100627"/>
                            <a:pt x="0" y="933418"/>
                          </a:cubicBezTo>
                          <a:cubicBezTo>
                            <a:pt x="-41420" y="766209"/>
                            <a:pt x="31241" y="667223"/>
                            <a:pt x="0" y="460010"/>
                          </a:cubicBezTo>
                          <a:cubicBezTo>
                            <a:pt x="-31241" y="252797"/>
                            <a:pt x="29955" y="200174"/>
                            <a:pt x="0" y="0"/>
                          </a:cubicBezTo>
                          <a:close/>
                        </a:path>
                      </a:pathLst>
                    </a:custGeom>
                    <ask:type>
                      <ask:lineSketchNone/>
                    </ask:type>
                  </ask:lineSketchStyleProps>
                </a:ext>
              </a:extLst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200" b="0" i="0" u="none" strike="noStrike" kern="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69064520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B496E61E-FDB9-CBD0-0520-EE5A42DB17C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774143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496E61E-FDB9-CBD0-0520-EE5A42DB17C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9" name="Picture 68">
            <a:extLst>
              <a:ext uri="{FF2B5EF4-FFF2-40B4-BE49-F238E27FC236}">
                <a16:creationId xmlns:a16="http://schemas.microsoft.com/office/drawing/2014/main" id="{2B741BD4-0C68-BCAC-F978-A5FF75DE0C31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hqprint">
            <a:alphaModFix amt="50000"/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saturation sat="0"/>
                    </a14:imgEffect>
                    <a14:imgEffect>
                      <a14:brightnessContrast contrast="-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l="20704" t="1103" b="6555"/>
          <a:stretch/>
        </p:blipFill>
        <p:spPr>
          <a:xfrm>
            <a:off x="1" y="583369"/>
            <a:ext cx="9144000" cy="3981525"/>
          </a:xfrm>
          <a:prstGeom prst="rect">
            <a:avLst/>
          </a:prstGeom>
          <a:solidFill>
            <a:schemeClr val="bg1"/>
          </a:solidFill>
          <a:ln>
            <a:noFill/>
          </a:ln>
        </p:spPr>
      </p:pic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A4879731-EC60-4039-5664-9F5F258EABE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98DEE5-5424-45CB-8336-3215AFBD0173}" type="slidenum">
              <a:rPr lang="it-IT" smtClean="0"/>
              <a:pPr/>
              <a:t>7</a:t>
            </a:fld>
            <a:endParaRPr lang="it-IT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655B8354-A703-CB4F-044E-365D858EC8B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it-IT" dirty="0"/>
              <a:t>The Urban </a:t>
            </a:r>
            <a:r>
              <a:rPr lang="it-IT" dirty="0" err="1"/>
              <a:t>Mobility</a:t>
            </a:r>
            <a:r>
              <a:rPr lang="it-IT" dirty="0"/>
              <a:t> </a:t>
            </a:r>
            <a:r>
              <a:rPr lang="it-IT" dirty="0" err="1"/>
              <a:t>Council</a:t>
            </a:r>
            <a:r>
              <a:rPr lang="it-IT" dirty="0"/>
              <a:t> | Safe cities</a:t>
            </a: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4BE9BA6A-8D38-F91F-2D4C-F530E9A2750D}"/>
              </a:ext>
            </a:extLst>
          </p:cNvPr>
          <p:cNvGrpSpPr/>
          <p:nvPr/>
        </p:nvGrpSpPr>
        <p:grpSpPr>
          <a:xfrm rot="16200000">
            <a:off x="2141634" y="2631522"/>
            <a:ext cx="210740" cy="663341"/>
            <a:chOff x="11740701" y="1223626"/>
            <a:chExt cx="254995" cy="469914"/>
          </a:xfrm>
        </p:grpSpPr>
        <p:sp>
          <p:nvSpPr>
            <p:cNvPr id="17" name="Chevron 540">
              <a:extLst>
                <a:ext uri="{FF2B5EF4-FFF2-40B4-BE49-F238E27FC236}">
                  <a16:creationId xmlns:a16="http://schemas.microsoft.com/office/drawing/2014/main" id="{0F0D9310-288B-072D-B774-396B151A28B5}"/>
                </a:ext>
              </a:extLst>
            </p:cNvPr>
            <p:cNvSpPr/>
            <p:nvPr/>
          </p:nvSpPr>
          <p:spPr bwMode="gray">
            <a:xfrm flipH="1">
              <a:off x="11814552" y="1223626"/>
              <a:ext cx="181144" cy="469914"/>
            </a:xfrm>
            <a:prstGeom prst="chevron">
              <a:avLst/>
            </a:prstGeom>
            <a:solidFill>
              <a:srgbClr val="041E42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endParaRPr lang="it-IT" sz="1100" b="1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8" name="Chevron 541">
              <a:extLst>
                <a:ext uri="{FF2B5EF4-FFF2-40B4-BE49-F238E27FC236}">
                  <a16:creationId xmlns:a16="http://schemas.microsoft.com/office/drawing/2014/main" id="{0857C284-52EC-B420-22F6-8260DD225820}"/>
                </a:ext>
              </a:extLst>
            </p:cNvPr>
            <p:cNvSpPr/>
            <p:nvPr/>
          </p:nvSpPr>
          <p:spPr bwMode="gray">
            <a:xfrm flipH="1">
              <a:off x="11740701" y="1267932"/>
              <a:ext cx="133066" cy="381300"/>
            </a:xfrm>
            <a:prstGeom prst="chevron">
              <a:avLst/>
            </a:prstGeom>
            <a:solidFill>
              <a:schemeClr val="accent5">
                <a:lumMod val="60000"/>
                <a:lumOff val="40000"/>
              </a:schemeClr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endParaRPr lang="it-IT" sz="1100" b="1" dirty="0">
                <a:solidFill>
                  <a:schemeClr val="bg1"/>
                </a:solidFill>
                <a:latin typeface="+mj-lt"/>
              </a:endParaRPr>
            </a:p>
          </p:txBody>
        </p:sp>
      </p:grpSp>
      <p:grpSp>
        <p:nvGrpSpPr>
          <p:cNvPr id="33" name="Group 32">
            <a:extLst>
              <a:ext uri="{FF2B5EF4-FFF2-40B4-BE49-F238E27FC236}">
                <a16:creationId xmlns:a16="http://schemas.microsoft.com/office/drawing/2014/main" id="{433BF20F-5E0C-B8D4-6FDD-57327E59064A}"/>
              </a:ext>
            </a:extLst>
          </p:cNvPr>
          <p:cNvGrpSpPr/>
          <p:nvPr/>
        </p:nvGrpSpPr>
        <p:grpSpPr>
          <a:xfrm>
            <a:off x="396407" y="785674"/>
            <a:ext cx="3701194" cy="2009318"/>
            <a:chOff x="432707" y="785674"/>
            <a:chExt cx="3575957" cy="2009318"/>
          </a:xfrm>
        </p:grpSpPr>
        <p:sp>
          <p:nvSpPr>
            <p:cNvPr id="4" name="Rectangle: Rounded Corners 3">
              <a:extLst>
                <a:ext uri="{FF2B5EF4-FFF2-40B4-BE49-F238E27FC236}">
                  <a16:creationId xmlns:a16="http://schemas.microsoft.com/office/drawing/2014/main" id="{06E3D1E4-D435-0E69-6E26-E8ECB0A14DCE}"/>
                </a:ext>
              </a:extLst>
            </p:cNvPr>
            <p:cNvSpPr/>
            <p:nvPr/>
          </p:nvSpPr>
          <p:spPr>
            <a:xfrm>
              <a:off x="432707" y="785674"/>
              <a:ext cx="3575957" cy="2009318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Ins="720000" rtlCol="0" anchor="ctr"/>
            <a:lstStyle/>
            <a:p>
              <a:pPr algn="ctr"/>
              <a:r>
                <a:rPr lang="en-US" sz="1600" dirty="0">
                  <a:solidFill>
                    <a:schemeClr val="tx1"/>
                  </a:solidFill>
                </a:rPr>
                <a:t>With the </a:t>
              </a:r>
              <a:r>
                <a:rPr lang="en-US" sz="1600" b="1" dirty="0">
                  <a:solidFill>
                    <a:schemeClr val="tx1"/>
                  </a:solidFill>
                </a:rPr>
                <a:t>aim </a:t>
              </a:r>
              <a:r>
                <a:rPr lang="en-US" sz="1600" dirty="0">
                  <a:solidFill>
                    <a:schemeClr val="tx1"/>
                  </a:solidFill>
                </a:rPr>
                <a:t>of </a:t>
              </a:r>
              <a:r>
                <a:rPr lang="en-US" sz="1600" b="1" dirty="0">
                  <a:solidFill>
                    <a:schemeClr val="tx1"/>
                  </a:solidFill>
                </a:rPr>
                <a:t>making cities more safe</a:t>
              </a:r>
              <a:r>
                <a:rPr lang="en-US" sz="1600" dirty="0">
                  <a:solidFill>
                    <a:schemeClr val="tx1"/>
                  </a:solidFill>
                </a:rPr>
                <a:t>, </a:t>
              </a:r>
              <a:r>
                <a:rPr lang="en-US" sz="1600" b="1" dirty="0">
                  <a:solidFill>
                    <a:schemeClr val="tx1"/>
                  </a:solidFill>
                </a:rPr>
                <a:t>livable </a:t>
              </a:r>
              <a:r>
                <a:rPr lang="en-US" sz="1600" dirty="0">
                  <a:solidFill>
                    <a:schemeClr val="tx1"/>
                  </a:solidFill>
                </a:rPr>
                <a:t>and </a:t>
              </a:r>
              <a:r>
                <a:rPr lang="en-US" sz="1600" b="1" dirty="0">
                  <a:solidFill>
                    <a:schemeClr val="tx1"/>
                  </a:solidFill>
                </a:rPr>
                <a:t>less noisy</a:t>
              </a:r>
              <a:r>
                <a:rPr lang="en-US" sz="1600" dirty="0">
                  <a:solidFill>
                    <a:schemeClr val="tx1"/>
                  </a:solidFill>
                </a:rPr>
                <a:t>, </a:t>
              </a:r>
              <a:r>
                <a:rPr lang="en-US" sz="1600" b="1" dirty="0">
                  <a:solidFill>
                    <a:schemeClr val="tx1"/>
                  </a:solidFill>
                </a:rPr>
                <a:t>many cities</a:t>
              </a:r>
              <a:r>
                <a:rPr lang="en-US" sz="1600" dirty="0">
                  <a:solidFill>
                    <a:schemeClr val="tx1"/>
                  </a:solidFill>
                </a:rPr>
                <a:t> in </a:t>
              </a:r>
              <a:r>
                <a:rPr lang="en-US" sz="1600" b="1" dirty="0">
                  <a:solidFill>
                    <a:schemeClr val="tx1"/>
                  </a:solidFill>
                </a:rPr>
                <a:t>Europe</a:t>
              </a:r>
              <a:r>
                <a:rPr lang="en-US" sz="1600" dirty="0">
                  <a:solidFill>
                    <a:schemeClr val="tx1"/>
                  </a:solidFill>
                </a:rPr>
                <a:t> (e.g. Brussels, Amsterdam, London, Madrid, Barcelona) have </a:t>
              </a:r>
              <a:r>
                <a:rPr lang="en-US" sz="1600" b="1" dirty="0">
                  <a:solidFill>
                    <a:schemeClr val="tx1"/>
                  </a:solidFill>
                </a:rPr>
                <a:t>substantially increased </a:t>
              </a:r>
              <a:r>
                <a:rPr lang="en-US" sz="1600" dirty="0">
                  <a:solidFill>
                    <a:schemeClr val="tx1"/>
                  </a:solidFill>
                </a:rPr>
                <a:t>the number of </a:t>
              </a:r>
              <a:r>
                <a:rPr lang="en-US" sz="1600" b="1" dirty="0">
                  <a:solidFill>
                    <a:schemeClr val="tx1"/>
                  </a:solidFill>
                </a:rPr>
                <a:t>roads with </a:t>
              </a:r>
              <a:r>
                <a:rPr lang="en-US" sz="1600" dirty="0">
                  <a:solidFill>
                    <a:schemeClr val="tx1"/>
                  </a:solidFill>
                </a:rPr>
                <a:t>a </a:t>
              </a:r>
              <a:br>
                <a:rPr lang="en-US" sz="1600" dirty="0">
                  <a:solidFill>
                    <a:schemeClr val="tx1"/>
                  </a:solidFill>
                </a:rPr>
              </a:br>
              <a:r>
                <a:rPr lang="en-US" sz="1600" b="1" dirty="0">
                  <a:solidFill>
                    <a:schemeClr val="tx1"/>
                  </a:solidFill>
                </a:rPr>
                <a:t>30 km/h speed limit</a:t>
              </a:r>
            </a:p>
          </p:txBody>
        </p:sp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ABC20E03-8BCB-A96F-A385-F6CC909398C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327400" y="1363468"/>
              <a:ext cx="619125" cy="853731"/>
            </a:xfrm>
            <a:prstGeom prst="rect">
              <a:avLst/>
            </a:prstGeom>
          </p:spPr>
        </p:pic>
      </p:grpSp>
      <p:sp>
        <p:nvSpPr>
          <p:cNvPr id="5" name="Rectangle 4">
            <a:extLst>
              <a:ext uri="{FF2B5EF4-FFF2-40B4-BE49-F238E27FC236}">
                <a16:creationId xmlns:a16="http://schemas.microsoft.com/office/drawing/2014/main" id="{16C1E632-C5D0-1AAC-19A3-58689E833E3B}"/>
              </a:ext>
            </a:extLst>
          </p:cNvPr>
          <p:cNvSpPr/>
          <p:nvPr/>
        </p:nvSpPr>
        <p:spPr>
          <a:xfrm>
            <a:off x="364901" y="3425046"/>
            <a:ext cx="3764206" cy="937362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08000" rtlCol="0" anchor="ctr"/>
          <a:lstStyle/>
          <a:p>
            <a:pPr algn="ctr"/>
            <a:r>
              <a:rPr lang="en-US" sz="1600" dirty="0">
                <a:solidFill>
                  <a:schemeClr val="tx1"/>
                </a:solidFill>
              </a:rPr>
              <a:t>In this regard, </a:t>
            </a:r>
            <a:r>
              <a:rPr lang="en-US" sz="1600" b="1" dirty="0">
                <a:solidFill>
                  <a:schemeClr val="tx1"/>
                </a:solidFill>
              </a:rPr>
              <a:t>UnipolTech </a:t>
            </a:r>
            <a:r>
              <a:rPr lang="en-US" sz="1600" dirty="0">
                <a:solidFill>
                  <a:schemeClr val="tx1"/>
                </a:solidFill>
              </a:rPr>
              <a:t>and </a:t>
            </a:r>
            <a:r>
              <a:rPr lang="en-US" sz="1600" b="1" dirty="0">
                <a:solidFill>
                  <a:schemeClr val="tx1"/>
                </a:solidFill>
              </a:rPr>
              <a:t>Boston’s MIT </a:t>
            </a:r>
            <a:r>
              <a:rPr lang="en-US" sz="1600" dirty="0">
                <a:solidFill>
                  <a:schemeClr val="tx1"/>
                </a:solidFill>
              </a:rPr>
              <a:t>have established a </a:t>
            </a:r>
            <a:r>
              <a:rPr lang="en-US" sz="1600" b="1" dirty="0">
                <a:solidFill>
                  <a:schemeClr val="tx1"/>
                </a:solidFill>
              </a:rPr>
              <a:t>partnership </a:t>
            </a:r>
            <a:r>
              <a:rPr lang="en-US" sz="1600" dirty="0">
                <a:solidFill>
                  <a:schemeClr val="tx1"/>
                </a:solidFill>
              </a:rPr>
              <a:t>to </a:t>
            </a:r>
            <a:r>
              <a:rPr lang="en-US" sz="1600" b="1" dirty="0">
                <a:solidFill>
                  <a:schemeClr val="tx1"/>
                </a:solidFill>
              </a:rPr>
              <a:t>study </a:t>
            </a:r>
            <a:r>
              <a:rPr lang="en-US" sz="1600" dirty="0">
                <a:solidFill>
                  <a:schemeClr val="tx1"/>
                </a:solidFill>
              </a:rPr>
              <a:t>the </a:t>
            </a:r>
            <a:r>
              <a:rPr lang="en-US" sz="1600" b="1" dirty="0">
                <a:solidFill>
                  <a:schemeClr val="tx1"/>
                </a:solidFill>
              </a:rPr>
              <a:t>impact </a:t>
            </a:r>
            <a:r>
              <a:rPr lang="en-US" sz="1600" dirty="0">
                <a:solidFill>
                  <a:schemeClr val="tx1"/>
                </a:solidFill>
              </a:rPr>
              <a:t>of</a:t>
            </a:r>
            <a:r>
              <a:rPr lang="en-US" sz="1600" b="1" dirty="0">
                <a:solidFill>
                  <a:schemeClr val="tx1"/>
                </a:solidFill>
              </a:rPr>
              <a:t> Zone 30 </a:t>
            </a:r>
            <a:r>
              <a:rPr lang="en-US" sz="1600" dirty="0">
                <a:solidFill>
                  <a:schemeClr val="tx1"/>
                </a:solidFill>
              </a:rPr>
              <a:t>in</a:t>
            </a:r>
            <a:r>
              <a:rPr lang="en-US" sz="1600" b="1" dirty="0">
                <a:solidFill>
                  <a:schemeClr val="tx1"/>
                </a:solidFill>
              </a:rPr>
              <a:t> Milan</a:t>
            </a:r>
          </a:p>
        </p:txBody>
      </p:sp>
      <p:grpSp>
        <p:nvGrpSpPr>
          <p:cNvPr id="31" name="Group 30">
            <a:extLst>
              <a:ext uri="{FF2B5EF4-FFF2-40B4-BE49-F238E27FC236}">
                <a16:creationId xmlns:a16="http://schemas.microsoft.com/office/drawing/2014/main" id="{7A908805-519D-676D-5BF6-650D2EEAAA7F}"/>
              </a:ext>
            </a:extLst>
          </p:cNvPr>
          <p:cNvGrpSpPr/>
          <p:nvPr/>
        </p:nvGrpSpPr>
        <p:grpSpPr>
          <a:xfrm>
            <a:off x="959177" y="3180576"/>
            <a:ext cx="2575655" cy="361394"/>
            <a:chOff x="743017" y="3130946"/>
            <a:chExt cx="2833221" cy="397533"/>
          </a:xfrm>
        </p:grpSpPr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8ECC5DBB-AA45-848B-F214-9A146E2628E2}"/>
                </a:ext>
              </a:extLst>
            </p:cNvPr>
            <p:cNvSpPr/>
            <p:nvPr/>
          </p:nvSpPr>
          <p:spPr>
            <a:xfrm>
              <a:off x="743017" y="3130946"/>
              <a:ext cx="2833221" cy="397533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 sz="1600">
                <a:solidFill>
                  <a:schemeClr val="tx1"/>
                </a:solidFill>
              </a:endParaRPr>
            </a:p>
          </p:txBody>
        </p:sp>
        <p:grpSp>
          <p:nvGrpSpPr>
            <p:cNvPr id="28" name="Group 27">
              <a:extLst>
                <a:ext uri="{FF2B5EF4-FFF2-40B4-BE49-F238E27FC236}">
                  <a16:creationId xmlns:a16="http://schemas.microsoft.com/office/drawing/2014/main" id="{8710C4BA-2600-6E87-C002-2AFDCF3C64B2}"/>
                </a:ext>
              </a:extLst>
            </p:cNvPr>
            <p:cNvGrpSpPr/>
            <p:nvPr/>
          </p:nvGrpSpPr>
          <p:grpSpPr>
            <a:xfrm>
              <a:off x="804075" y="3183609"/>
              <a:ext cx="2711105" cy="292206"/>
              <a:chOff x="668591" y="3124599"/>
              <a:chExt cx="2711105" cy="292206"/>
            </a:xfrm>
          </p:grpSpPr>
          <p:pic>
            <p:nvPicPr>
              <p:cNvPr id="21" name="Picture 5" descr="Unipol Tech">
                <a:extLst>
                  <a:ext uri="{FF2B5EF4-FFF2-40B4-BE49-F238E27FC236}">
                    <a16:creationId xmlns:a16="http://schemas.microsoft.com/office/drawing/2014/main" id="{FC6FBBEE-34CD-2E90-335B-D928865405DB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8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668591" y="3124599"/>
                <a:ext cx="1420462" cy="292206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24" name="Picture 23">
                <a:extLst>
                  <a:ext uri="{FF2B5EF4-FFF2-40B4-BE49-F238E27FC236}">
                    <a16:creationId xmlns:a16="http://schemas.microsoft.com/office/drawing/2014/main" id="{4C564D87-1B01-02BB-A3C7-7DCB91EEBDE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</a:blip>
              <a:stretch>
                <a:fillRect/>
              </a:stretch>
            </p:blipFill>
            <p:spPr>
              <a:xfrm>
                <a:off x="2123647" y="3124599"/>
                <a:ext cx="1256049" cy="292206"/>
              </a:xfrm>
              <a:prstGeom prst="rect">
                <a:avLst/>
              </a:prstGeom>
            </p:spPr>
          </p:pic>
        </p:grpSp>
      </p:grpSp>
      <p:grpSp>
        <p:nvGrpSpPr>
          <p:cNvPr id="43" name="Group 42">
            <a:extLst>
              <a:ext uri="{FF2B5EF4-FFF2-40B4-BE49-F238E27FC236}">
                <a16:creationId xmlns:a16="http://schemas.microsoft.com/office/drawing/2014/main" id="{6D3942CC-5094-734C-6FB0-F4041CF84293}"/>
              </a:ext>
            </a:extLst>
          </p:cNvPr>
          <p:cNvGrpSpPr/>
          <p:nvPr/>
        </p:nvGrpSpPr>
        <p:grpSpPr>
          <a:xfrm>
            <a:off x="4297631" y="785856"/>
            <a:ext cx="126733" cy="3576551"/>
            <a:chOff x="4365639" y="607901"/>
            <a:chExt cx="126733" cy="3576551"/>
          </a:xfrm>
        </p:grpSpPr>
        <p:sp>
          <p:nvSpPr>
            <p:cNvPr id="35" name="Freeform 70">
              <a:extLst>
                <a:ext uri="{FF2B5EF4-FFF2-40B4-BE49-F238E27FC236}">
                  <a16:creationId xmlns:a16="http://schemas.microsoft.com/office/drawing/2014/main" id="{A6192AB6-D07E-11B2-3421-7C1C9954206D}"/>
                </a:ext>
              </a:extLst>
            </p:cNvPr>
            <p:cNvSpPr>
              <a:spLocks noEditPoints="1"/>
            </p:cNvSpPr>
            <p:nvPr/>
          </p:nvSpPr>
          <p:spPr bwMode="auto">
            <a:xfrm rot="5400000" flipV="1">
              <a:off x="2640730" y="2385513"/>
              <a:ext cx="3576551" cy="21328"/>
            </a:xfrm>
            <a:custGeom>
              <a:avLst/>
              <a:gdLst>
                <a:gd name="T0" fmla="*/ 75 w 655"/>
                <a:gd name="T1" fmla="*/ 7 h 10"/>
                <a:gd name="T2" fmla="*/ 80 w 655"/>
                <a:gd name="T3" fmla="*/ 7 h 10"/>
                <a:gd name="T4" fmla="*/ 97 w 655"/>
                <a:gd name="T5" fmla="*/ 8 h 10"/>
                <a:gd name="T6" fmla="*/ 133 w 655"/>
                <a:gd name="T7" fmla="*/ 8 h 10"/>
                <a:gd name="T8" fmla="*/ 156 w 655"/>
                <a:gd name="T9" fmla="*/ 7 h 10"/>
                <a:gd name="T10" fmla="*/ 193 w 655"/>
                <a:gd name="T11" fmla="*/ 7 h 10"/>
                <a:gd name="T12" fmla="*/ 208 w 655"/>
                <a:gd name="T13" fmla="*/ 8 h 10"/>
                <a:gd name="T14" fmla="*/ 229 w 655"/>
                <a:gd name="T15" fmla="*/ 7 h 10"/>
                <a:gd name="T16" fmla="*/ 250 w 655"/>
                <a:gd name="T17" fmla="*/ 7 h 10"/>
                <a:gd name="T18" fmla="*/ 274 w 655"/>
                <a:gd name="T19" fmla="*/ 7 h 10"/>
                <a:gd name="T20" fmla="*/ 326 w 655"/>
                <a:gd name="T21" fmla="*/ 8 h 10"/>
                <a:gd name="T22" fmla="*/ 385 w 655"/>
                <a:gd name="T23" fmla="*/ 8 h 10"/>
                <a:gd name="T24" fmla="*/ 412 w 655"/>
                <a:gd name="T25" fmla="*/ 7 h 10"/>
                <a:gd name="T26" fmla="*/ 456 w 655"/>
                <a:gd name="T27" fmla="*/ 7 h 10"/>
                <a:gd name="T28" fmla="*/ 474 w 655"/>
                <a:gd name="T29" fmla="*/ 8 h 10"/>
                <a:gd name="T30" fmla="*/ 496 w 655"/>
                <a:gd name="T31" fmla="*/ 6 h 10"/>
                <a:gd name="T32" fmla="*/ 505 w 655"/>
                <a:gd name="T33" fmla="*/ 6 h 10"/>
                <a:gd name="T34" fmla="*/ 521 w 655"/>
                <a:gd name="T35" fmla="*/ 6 h 10"/>
                <a:gd name="T36" fmla="*/ 547 w 655"/>
                <a:gd name="T37" fmla="*/ 6 h 10"/>
                <a:gd name="T38" fmla="*/ 569 w 655"/>
                <a:gd name="T39" fmla="*/ 6 h 10"/>
                <a:gd name="T40" fmla="*/ 593 w 655"/>
                <a:gd name="T41" fmla="*/ 6 h 10"/>
                <a:gd name="T42" fmla="*/ 604 w 655"/>
                <a:gd name="T43" fmla="*/ 6 h 10"/>
                <a:gd name="T44" fmla="*/ 620 w 655"/>
                <a:gd name="T45" fmla="*/ 7 h 10"/>
                <a:gd name="T46" fmla="*/ 645 w 655"/>
                <a:gd name="T47" fmla="*/ 6 h 10"/>
                <a:gd name="T48" fmla="*/ 654 w 655"/>
                <a:gd name="T49" fmla="*/ 6 h 10"/>
                <a:gd name="T50" fmla="*/ 641 w 655"/>
                <a:gd name="T51" fmla="*/ 4 h 10"/>
                <a:gd name="T52" fmla="*/ 628 w 655"/>
                <a:gd name="T53" fmla="*/ 3 h 10"/>
                <a:gd name="T54" fmla="*/ 615 w 655"/>
                <a:gd name="T55" fmla="*/ 3 h 10"/>
                <a:gd name="T56" fmla="*/ 590 w 655"/>
                <a:gd name="T57" fmla="*/ 3 h 10"/>
                <a:gd name="T58" fmla="*/ 580 w 655"/>
                <a:gd name="T59" fmla="*/ 4 h 10"/>
                <a:gd name="T60" fmla="*/ 570 w 655"/>
                <a:gd name="T61" fmla="*/ 3 h 10"/>
                <a:gd name="T62" fmla="*/ 552 w 655"/>
                <a:gd name="T63" fmla="*/ 4 h 10"/>
                <a:gd name="T64" fmla="*/ 532 w 655"/>
                <a:gd name="T65" fmla="*/ 2 h 10"/>
                <a:gd name="T66" fmla="*/ 509 w 655"/>
                <a:gd name="T67" fmla="*/ 3 h 10"/>
                <a:gd name="T68" fmla="*/ 504 w 655"/>
                <a:gd name="T69" fmla="*/ 2 h 10"/>
                <a:gd name="T70" fmla="*/ 485 w 655"/>
                <a:gd name="T71" fmla="*/ 1 h 10"/>
                <a:gd name="T72" fmla="*/ 477 w 655"/>
                <a:gd name="T73" fmla="*/ 1 h 10"/>
                <a:gd name="T74" fmla="*/ 465 w 655"/>
                <a:gd name="T75" fmla="*/ 3 h 10"/>
                <a:gd name="T76" fmla="*/ 453 w 655"/>
                <a:gd name="T77" fmla="*/ 3 h 10"/>
                <a:gd name="T78" fmla="*/ 437 w 655"/>
                <a:gd name="T79" fmla="*/ 3 h 10"/>
                <a:gd name="T80" fmla="*/ 418 w 655"/>
                <a:gd name="T81" fmla="*/ 3 h 10"/>
                <a:gd name="T82" fmla="*/ 390 w 655"/>
                <a:gd name="T83" fmla="*/ 4 h 10"/>
                <a:gd name="T84" fmla="*/ 369 w 655"/>
                <a:gd name="T85" fmla="*/ 3 h 10"/>
                <a:gd name="T86" fmla="*/ 355 w 655"/>
                <a:gd name="T87" fmla="*/ 4 h 10"/>
                <a:gd name="T88" fmla="*/ 339 w 655"/>
                <a:gd name="T89" fmla="*/ 4 h 10"/>
                <a:gd name="T90" fmla="*/ 304 w 655"/>
                <a:gd name="T91" fmla="*/ 0 h 10"/>
                <a:gd name="T92" fmla="*/ 272 w 655"/>
                <a:gd name="T93" fmla="*/ 2 h 10"/>
                <a:gd name="T94" fmla="*/ 249 w 655"/>
                <a:gd name="T95" fmla="*/ 1 h 10"/>
                <a:gd name="T96" fmla="*/ 207 w 655"/>
                <a:gd name="T97" fmla="*/ 1 h 10"/>
                <a:gd name="T98" fmla="*/ 172 w 655"/>
                <a:gd name="T99" fmla="*/ 3 h 10"/>
                <a:gd name="T100" fmla="*/ 141 w 655"/>
                <a:gd name="T101" fmla="*/ 3 h 10"/>
                <a:gd name="T102" fmla="*/ 128 w 655"/>
                <a:gd name="T103" fmla="*/ 3 h 10"/>
                <a:gd name="T104" fmla="*/ 116 w 655"/>
                <a:gd name="T105" fmla="*/ 2 h 10"/>
                <a:gd name="T106" fmla="*/ 110 w 655"/>
                <a:gd name="T107" fmla="*/ 2 h 10"/>
                <a:gd name="T108" fmla="*/ 92 w 655"/>
                <a:gd name="T109" fmla="*/ 2 h 10"/>
                <a:gd name="T110" fmla="*/ 34 w 655"/>
                <a:gd name="T111" fmla="*/ 4 h 10"/>
                <a:gd name="T112" fmla="*/ 14 w 655"/>
                <a:gd name="T113" fmla="*/ 3 h 10"/>
                <a:gd name="T114" fmla="*/ 7 w 655"/>
                <a:gd name="T115" fmla="*/ 7 h 10"/>
                <a:gd name="T116" fmla="*/ 14 w 655"/>
                <a:gd name="T117" fmla="*/ 7 h 10"/>
                <a:gd name="T118" fmla="*/ 41 w 655"/>
                <a:gd name="T119" fmla="*/ 7 h 10"/>
                <a:gd name="T120" fmla="*/ 55 w 655"/>
                <a:gd name="T121" fmla="*/ 7 h 10"/>
                <a:gd name="T122" fmla="*/ 122 w 655"/>
                <a:gd name="T123" fmla="*/ 7 h 10"/>
                <a:gd name="T124" fmla="*/ 111 w 655"/>
                <a:gd name="T125" fmla="*/ 2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655" h="10">
                  <a:moveTo>
                    <a:pt x="57" y="9"/>
                  </a:moveTo>
                  <a:cubicBezTo>
                    <a:pt x="60" y="9"/>
                    <a:pt x="58" y="8"/>
                    <a:pt x="59" y="7"/>
                  </a:cubicBezTo>
                  <a:cubicBezTo>
                    <a:pt x="62" y="7"/>
                    <a:pt x="60" y="8"/>
                    <a:pt x="61" y="9"/>
                  </a:cubicBezTo>
                  <a:cubicBezTo>
                    <a:pt x="63" y="8"/>
                    <a:pt x="65" y="7"/>
                    <a:pt x="66" y="8"/>
                  </a:cubicBezTo>
                  <a:cubicBezTo>
                    <a:pt x="66" y="8"/>
                    <a:pt x="66" y="8"/>
                    <a:pt x="66" y="8"/>
                  </a:cubicBezTo>
                  <a:cubicBezTo>
                    <a:pt x="68" y="7"/>
                    <a:pt x="72" y="8"/>
                    <a:pt x="74" y="7"/>
                  </a:cubicBezTo>
                  <a:cubicBezTo>
                    <a:pt x="75" y="7"/>
                    <a:pt x="75" y="7"/>
                    <a:pt x="75" y="7"/>
                  </a:cubicBezTo>
                  <a:cubicBezTo>
                    <a:pt x="74" y="7"/>
                    <a:pt x="74" y="6"/>
                    <a:pt x="74" y="6"/>
                  </a:cubicBezTo>
                  <a:cubicBezTo>
                    <a:pt x="75" y="6"/>
                    <a:pt x="76" y="5"/>
                    <a:pt x="77" y="6"/>
                  </a:cubicBezTo>
                  <a:cubicBezTo>
                    <a:pt x="76" y="6"/>
                    <a:pt x="76" y="6"/>
                    <a:pt x="76" y="6"/>
                  </a:cubicBezTo>
                  <a:cubicBezTo>
                    <a:pt x="77" y="6"/>
                    <a:pt x="77" y="6"/>
                    <a:pt x="77" y="6"/>
                  </a:cubicBezTo>
                  <a:cubicBezTo>
                    <a:pt x="78" y="7"/>
                    <a:pt x="75" y="6"/>
                    <a:pt x="75" y="7"/>
                  </a:cubicBezTo>
                  <a:cubicBezTo>
                    <a:pt x="78" y="7"/>
                    <a:pt x="80" y="6"/>
                    <a:pt x="82" y="6"/>
                  </a:cubicBezTo>
                  <a:cubicBezTo>
                    <a:pt x="83" y="7"/>
                    <a:pt x="78" y="7"/>
                    <a:pt x="80" y="7"/>
                  </a:cubicBezTo>
                  <a:cubicBezTo>
                    <a:pt x="78" y="7"/>
                    <a:pt x="78" y="7"/>
                    <a:pt x="78" y="7"/>
                  </a:cubicBezTo>
                  <a:cubicBezTo>
                    <a:pt x="80" y="8"/>
                    <a:pt x="76" y="7"/>
                    <a:pt x="78" y="8"/>
                  </a:cubicBezTo>
                  <a:cubicBezTo>
                    <a:pt x="82" y="9"/>
                    <a:pt x="82" y="8"/>
                    <a:pt x="86" y="8"/>
                  </a:cubicBezTo>
                  <a:cubicBezTo>
                    <a:pt x="86" y="8"/>
                    <a:pt x="85" y="7"/>
                    <a:pt x="86" y="7"/>
                  </a:cubicBezTo>
                  <a:cubicBezTo>
                    <a:pt x="91" y="6"/>
                    <a:pt x="90" y="9"/>
                    <a:pt x="94" y="8"/>
                  </a:cubicBezTo>
                  <a:cubicBezTo>
                    <a:pt x="95" y="7"/>
                    <a:pt x="95" y="6"/>
                    <a:pt x="98" y="7"/>
                  </a:cubicBezTo>
                  <a:cubicBezTo>
                    <a:pt x="97" y="8"/>
                    <a:pt x="97" y="8"/>
                    <a:pt x="97" y="8"/>
                  </a:cubicBezTo>
                  <a:cubicBezTo>
                    <a:pt x="101" y="8"/>
                    <a:pt x="99" y="6"/>
                    <a:pt x="103" y="7"/>
                  </a:cubicBezTo>
                  <a:cubicBezTo>
                    <a:pt x="102" y="8"/>
                    <a:pt x="100" y="7"/>
                    <a:pt x="101" y="8"/>
                  </a:cubicBezTo>
                  <a:cubicBezTo>
                    <a:pt x="103" y="8"/>
                    <a:pt x="102" y="7"/>
                    <a:pt x="104" y="7"/>
                  </a:cubicBezTo>
                  <a:cubicBezTo>
                    <a:pt x="105" y="8"/>
                    <a:pt x="105" y="8"/>
                    <a:pt x="105" y="8"/>
                  </a:cubicBezTo>
                  <a:cubicBezTo>
                    <a:pt x="108" y="8"/>
                    <a:pt x="113" y="7"/>
                    <a:pt x="117" y="7"/>
                  </a:cubicBezTo>
                  <a:cubicBezTo>
                    <a:pt x="116" y="7"/>
                    <a:pt x="116" y="7"/>
                    <a:pt x="117" y="8"/>
                  </a:cubicBezTo>
                  <a:cubicBezTo>
                    <a:pt x="122" y="7"/>
                    <a:pt x="128" y="8"/>
                    <a:pt x="133" y="8"/>
                  </a:cubicBezTo>
                  <a:cubicBezTo>
                    <a:pt x="135" y="8"/>
                    <a:pt x="135" y="8"/>
                    <a:pt x="135" y="8"/>
                  </a:cubicBezTo>
                  <a:cubicBezTo>
                    <a:pt x="135" y="8"/>
                    <a:pt x="136" y="8"/>
                    <a:pt x="135" y="8"/>
                  </a:cubicBezTo>
                  <a:cubicBezTo>
                    <a:pt x="137" y="8"/>
                    <a:pt x="135" y="8"/>
                    <a:pt x="136" y="7"/>
                  </a:cubicBezTo>
                  <a:cubicBezTo>
                    <a:pt x="138" y="7"/>
                    <a:pt x="138" y="8"/>
                    <a:pt x="137" y="8"/>
                  </a:cubicBezTo>
                  <a:cubicBezTo>
                    <a:pt x="141" y="7"/>
                    <a:pt x="147" y="7"/>
                    <a:pt x="151" y="7"/>
                  </a:cubicBezTo>
                  <a:cubicBezTo>
                    <a:pt x="150" y="8"/>
                    <a:pt x="150" y="8"/>
                    <a:pt x="150" y="8"/>
                  </a:cubicBezTo>
                  <a:cubicBezTo>
                    <a:pt x="153" y="8"/>
                    <a:pt x="153" y="6"/>
                    <a:pt x="156" y="7"/>
                  </a:cubicBezTo>
                  <a:cubicBezTo>
                    <a:pt x="155" y="7"/>
                    <a:pt x="155" y="7"/>
                    <a:pt x="155" y="7"/>
                  </a:cubicBezTo>
                  <a:cubicBezTo>
                    <a:pt x="162" y="7"/>
                    <a:pt x="169" y="7"/>
                    <a:pt x="173" y="8"/>
                  </a:cubicBezTo>
                  <a:cubicBezTo>
                    <a:pt x="174" y="7"/>
                    <a:pt x="179" y="8"/>
                    <a:pt x="180" y="7"/>
                  </a:cubicBezTo>
                  <a:cubicBezTo>
                    <a:pt x="183" y="7"/>
                    <a:pt x="182" y="8"/>
                    <a:pt x="187" y="8"/>
                  </a:cubicBezTo>
                  <a:cubicBezTo>
                    <a:pt x="189" y="8"/>
                    <a:pt x="189" y="7"/>
                    <a:pt x="191" y="7"/>
                  </a:cubicBezTo>
                  <a:cubicBezTo>
                    <a:pt x="191" y="8"/>
                    <a:pt x="191" y="8"/>
                    <a:pt x="191" y="8"/>
                  </a:cubicBezTo>
                  <a:cubicBezTo>
                    <a:pt x="193" y="7"/>
                    <a:pt x="193" y="7"/>
                    <a:pt x="193" y="7"/>
                  </a:cubicBezTo>
                  <a:cubicBezTo>
                    <a:pt x="194" y="8"/>
                    <a:pt x="194" y="8"/>
                    <a:pt x="194" y="8"/>
                  </a:cubicBezTo>
                  <a:cubicBezTo>
                    <a:pt x="196" y="8"/>
                    <a:pt x="196" y="8"/>
                    <a:pt x="196" y="8"/>
                  </a:cubicBezTo>
                  <a:cubicBezTo>
                    <a:pt x="195" y="8"/>
                    <a:pt x="195" y="7"/>
                    <a:pt x="195" y="7"/>
                  </a:cubicBezTo>
                  <a:cubicBezTo>
                    <a:pt x="197" y="7"/>
                    <a:pt x="201" y="8"/>
                    <a:pt x="201" y="8"/>
                  </a:cubicBezTo>
                  <a:cubicBezTo>
                    <a:pt x="207" y="8"/>
                    <a:pt x="207" y="8"/>
                    <a:pt x="207" y="8"/>
                  </a:cubicBezTo>
                  <a:cubicBezTo>
                    <a:pt x="206" y="8"/>
                    <a:pt x="205" y="8"/>
                    <a:pt x="205" y="8"/>
                  </a:cubicBezTo>
                  <a:cubicBezTo>
                    <a:pt x="208" y="7"/>
                    <a:pt x="205" y="9"/>
                    <a:pt x="208" y="8"/>
                  </a:cubicBezTo>
                  <a:cubicBezTo>
                    <a:pt x="208" y="8"/>
                    <a:pt x="208" y="8"/>
                    <a:pt x="208" y="8"/>
                  </a:cubicBezTo>
                  <a:cubicBezTo>
                    <a:pt x="210" y="8"/>
                    <a:pt x="213" y="8"/>
                    <a:pt x="215" y="8"/>
                  </a:cubicBezTo>
                  <a:cubicBezTo>
                    <a:pt x="215" y="8"/>
                    <a:pt x="215" y="8"/>
                    <a:pt x="215" y="8"/>
                  </a:cubicBezTo>
                  <a:cubicBezTo>
                    <a:pt x="219" y="9"/>
                    <a:pt x="224" y="8"/>
                    <a:pt x="228" y="8"/>
                  </a:cubicBezTo>
                  <a:cubicBezTo>
                    <a:pt x="227" y="8"/>
                    <a:pt x="227" y="7"/>
                    <a:pt x="229" y="7"/>
                  </a:cubicBezTo>
                  <a:cubicBezTo>
                    <a:pt x="229" y="8"/>
                    <a:pt x="229" y="8"/>
                    <a:pt x="229" y="8"/>
                  </a:cubicBezTo>
                  <a:cubicBezTo>
                    <a:pt x="230" y="7"/>
                    <a:pt x="228" y="7"/>
                    <a:pt x="229" y="7"/>
                  </a:cubicBezTo>
                  <a:cubicBezTo>
                    <a:pt x="231" y="7"/>
                    <a:pt x="231" y="8"/>
                    <a:pt x="230" y="8"/>
                  </a:cubicBezTo>
                  <a:cubicBezTo>
                    <a:pt x="232" y="8"/>
                    <a:pt x="232" y="8"/>
                    <a:pt x="232" y="8"/>
                  </a:cubicBezTo>
                  <a:cubicBezTo>
                    <a:pt x="232" y="8"/>
                    <a:pt x="231" y="8"/>
                    <a:pt x="231" y="8"/>
                  </a:cubicBezTo>
                  <a:cubicBezTo>
                    <a:pt x="232" y="8"/>
                    <a:pt x="235" y="9"/>
                    <a:pt x="236" y="8"/>
                  </a:cubicBezTo>
                  <a:cubicBezTo>
                    <a:pt x="236" y="9"/>
                    <a:pt x="236" y="9"/>
                    <a:pt x="236" y="9"/>
                  </a:cubicBezTo>
                  <a:cubicBezTo>
                    <a:pt x="241" y="9"/>
                    <a:pt x="243" y="8"/>
                    <a:pt x="247" y="8"/>
                  </a:cubicBezTo>
                  <a:cubicBezTo>
                    <a:pt x="247" y="8"/>
                    <a:pt x="249" y="8"/>
                    <a:pt x="250" y="7"/>
                  </a:cubicBezTo>
                  <a:cubicBezTo>
                    <a:pt x="253" y="7"/>
                    <a:pt x="256" y="8"/>
                    <a:pt x="259" y="8"/>
                  </a:cubicBezTo>
                  <a:cubicBezTo>
                    <a:pt x="262" y="8"/>
                    <a:pt x="260" y="7"/>
                    <a:pt x="261" y="7"/>
                  </a:cubicBezTo>
                  <a:cubicBezTo>
                    <a:pt x="261" y="7"/>
                    <a:pt x="265" y="7"/>
                    <a:pt x="263" y="8"/>
                  </a:cubicBezTo>
                  <a:cubicBezTo>
                    <a:pt x="267" y="8"/>
                    <a:pt x="268" y="8"/>
                    <a:pt x="274" y="7"/>
                  </a:cubicBezTo>
                  <a:cubicBezTo>
                    <a:pt x="273" y="7"/>
                    <a:pt x="272" y="7"/>
                    <a:pt x="273" y="7"/>
                  </a:cubicBezTo>
                  <a:cubicBezTo>
                    <a:pt x="274" y="6"/>
                    <a:pt x="275" y="7"/>
                    <a:pt x="275" y="7"/>
                  </a:cubicBezTo>
                  <a:cubicBezTo>
                    <a:pt x="274" y="7"/>
                    <a:pt x="274" y="7"/>
                    <a:pt x="274" y="7"/>
                  </a:cubicBezTo>
                  <a:cubicBezTo>
                    <a:pt x="280" y="6"/>
                    <a:pt x="288" y="9"/>
                    <a:pt x="293" y="8"/>
                  </a:cubicBezTo>
                  <a:cubicBezTo>
                    <a:pt x="292" y="8"/>
                    <a:pt x="292" y="8"/>
                    <a:pt x="292" y="8"/>
                  </a:cubicBezTo>
                  <a:cubicBezTo>
                    <a:pt x="297" y="7"/>
                    <a:pt x="297" y="7"/>
                    <a:pt x="297" y="7"/>
                  </a:cubicBezTo>
                  <a:cubicBezTo>
                    <a:pt x="299" y="7"/>
                    <a:pt x="296" y="8"/>
                    <a:pt x="297" y="8"/>
                  </a:cubicBezTo>
                  <a:cubicBezTo>
                    <a:pt x="303" y="7"/>
                    <a:pt x="306" y="8"/>
                    <a:pt x="310" y="8"/>
                  </a:cubicBezTo>
                  <a:cubicBezTo>
                    <a:pt x="313" y="10"/>
                    <a:pt x="322" y="7"/>
                    <a:pt x="326" y="9"/>
                  </a:cubicBezTo>
                  <a:cubicBezTo>
                    <a:pt x="326" y="8"/>
                    <a:pt x="326" y="8"/>
                    <a:pt x="326" y="8"/>
                  </a:cubicBezTo>
                  <a:cubicBezTo>
                    <a:pt x="327" y="8"/>
                    <a:pt x="327" y="8"/>
                    <a:pt x="328" y="9"/>
                  </a:cubicBezTo>
                  <a:cubicBezTo>
                    <a:pt x="328" y="8"/>
                    <a:pt x="327" y="8"/>
                    <a:pt x="328" y="8"/>
                  </a:cubicBezTo>
                  <a:cubicBezTo>
                    <a:pt x="338" y="7"/>
                    <a:pt x="348" y="9"/>
                    <a:pt x="358" y="9"/>
                  </a:cubicBezTo>
                  <a:cubicBezTo>
                    <a:pt x="362" y="9"/>
                    <a:pt x="360" y="7"/>
                    <a:pt x="365" y="8"/>
                  </a:cubicBezTo>
                  <a:cubicBezTo>
                    <a:pt x="364" y="9"/>
                    <a:pt x="364" y="9"/>
                    <a:pt x="364" y="9"/>
                  </a:cubicBezTo>
                  <a:cubicBezTo>
                    <a:pt x="371" y="8"/>
                    <a:pt x="379" y="9"/>
                    <a:pt x="386" y="8"/>
                  </a:cubicBezTo>
                  <a:cubicBezTo>
                    <a:pt x="386" y="8"/>
                    <a:pt x="386" y="8"/>
                    <a:pt x="385" y="8"/>
                  </a:cubicBezTo>
                  <a:cubicBezTo>
                    <a:pt x="386" y="9"/>
                    <a:pt x="390" y="8"/>
                    <a:pt x="391" y="8"/>
                  </a:cubicBezTo>
                  <a:cubicBezTo>
                    <a:pt x="392" y="8"/>
                    <a:pt x="391" y="8"/>
                    <a:pt x="391" y="8"/>
                  </a:cubicBezTo>
                  <a:cubicBezTo>
                    <a:pt x="393" y="9"/>
                    <a:pt x="395" y="8"/>
                    <a:pt x="396" y="8"/>
                  </a:cubicBezTo>
                  <a:cubicBezTo>
                    <a:pt x="396" y="8"/>
                    <a:pt x="396" y="8"/>
                    <a:pt x="395" y="8"/>
                  </a:cubicBezTo>
                  <a:cubicBezTo>
                    <a:pt x="396" y="8"/>
                    <a:pt x="400" y="9"/>
                    <a:pt x="399" y="8"/>
                  </a:cubicBezTo>
                  <a:cubicBezTo>
                    <a:pt x="402" y="8"/>
                    <a:pt x="404" y="8"/>
                    <a:pt x="407" y="8"/>
                  </a:cubicBezTo>
                  <a:cubicBezTo>
                    <a:pt x="408" y="7"/>
                    <a:pt x="411" y="8"/>
                    <a:pt x="412" y="7"/>
                  </a:cubicBezTo>
                  <a:cubicBezTo>
                    <a:pt x="412" y="8"/>
                    <a:pt x="416" y="8"/>
                    <a:pt x="418" y="8"/>
                  </a:cubicBezTo>
                  <a:cubicBezTo>
                    <a:pt x="418" y="8"/>
                    <a:pt x="420" y="8"/>
                    <a:pt x="419" y="8"/>
                  </a:cubicBezTo>
                  <a:cubicBezTo>
                    <a:pt x="421" y="8"/>
                    <a:pt x="423" y="8"/>
                    <a:pt x="422" y="8"/>
                  </a:cubicBezTo>
                  <a:cubicBezTo>
                    <a:pt x="426" y="9"/>
                    <a:pt x="430" y="6"/>
                    <a:pt x="432" y="8"/>
                  </a:cubicBezTo>
                  <a:cubicBezTo>
                    <a:pt x="438" y="8"/>
                    <a:pt x="443" y="7"/>
                    <a:pt x="448" y="7"/>
                  </a:cubicBezTo>
                  <a:cubicBezTo>
                    <a:pt x="448" y="8"/>
                    <a:pt x="443" y="7"/>
                    <a:pt x="443" y="8"/>
                  </a:cubicBezTo>
                  <a:cubicBezTo>
                    <a:pt x="448" y="8"/>
                    <a:pt x="451" y="7"/>
                    <a:pt x="456" y="7"/>
                  </a:cubicBezTo>
                  <a:cubicBezTo>
                    <a:pt x="457" y="7"/>
                    <a:pt x="455" y="8"/>
                    <a:pt x="454" y="8"/>
                  </a:cubicBezTo>
                  <a:cubicBezTo>
                    <a:pt x="459" y="7"/>
                    <a:pt x="464" y="8"/>
                    <a:pt x="468" y="7"/>
                  </a:cubicBezTo>
                  <a:cubicBezTo>
                    <a:pt x="468" y="7"/>
                    <a:pt x="468" y="7"/>
                    <a:pt x="468" y="8"/>
                  </a:cubicBezTo>
                  <a:cubicBezTo>
                    <a:pt x="468" y="8"/>
                    <a:pt x="470" y="8"/>
                    <a:pt x="469" y="7"/>
                  </a:cubicBezTo>
                  <a:cubicBezTo>
                    <a:pt x="469" y="7"/>
                    <a:pt x="469" y="7"/>
                    <a:pt x="469" y="7"/>
                  </a:cubicBezTo>
                  <a:cubicBezTo>
                    <a:pt x="467" y="7"/>
                    <a:pt x="472" y="6"/>
                    <a:pt x="472" y="5"/>
                  </a:cubicBezTo>
                  <a:cubicBezTo>
                    <a:pt x="471" y="7"/>
                    <a:pt x="477" y="6"/>
                    <a:pt x="474" y="8"/>
                  </a:cubicBezTo>
                  <a:cubicBezTo>
                    <a:pt x="475" y="8"/>
                    <a:pt x="476" y="7"/>
                    <a:pt x="475" y="7"/>
                  </a:cubicBezTo>
                  <a:cubicBezTo>
                    <a:pt x="476" y="7"/>
                    <a:pt x="477" y="7"/>
                    <a:pt x="476" y="8"/>
                  </a:cubicBezTo>
                  <a:cubicBezTo>
                    <a:pt x="479" y="7"/>
                    <a:pt x="478" y="7"/>
                    <a:pt x="481" y="7"/>
                  </a:cubicBezTo>
                  <a:cubicBezTo>
                    <a:pt x="481" y="7"/>
                    <a:pt x="480" y="7"/>
                    <a:pt x="480" y="7"/>
                  </a:cubicBezTo>
                  <a:cubicBezTo>
                    <a:pt x="481" y="7"/>
                    <a:pt x="483" y="6"/>
                    <a:pt x="485" y="7"/>
                  </a:cubicBezTo>
                  <a:cubicBezTo>
                    <a:pt x="485" y="7"/>
                    <a:pt x="485" y="7"/>
                    <a:pt x="484" y="7"/>
                  </a:cubicBezTo>
                  <a:cubicBezTo>
                    <a:pt x="489" y="7"/>
                    <a:pt x="491" y="6"/>
                    <a:pt x="496" y="6"/>
                  </a:cubicBezTo>
                  <a:cubicBezTo>
                    <a:pt x="495" y="7"/>
                    <a:pt x="497" y="7"/>
                    <a:pt x="498" y="8"/>
                  </a:cubicBezTo>
                  <a:cubicBezTo>
                    <a:pt x="500" y="7"/>
                    <a:pt x="500" y="7"/>
                    <a:pt x="500" y="7"/>
                  </a:cubicBezTo>
                  <a:cubicBezTo>
                    <a:pt x="499" y="7"/>
                    <a:pt x="499" y="7"/>
                    <a:pt x="499" y="7"/>
                  </a:cubicBezTo>
                  <a:cubicBezTo>
                    <a:pt x="501" y="7"/>
                    <a:pt x="503" y="6"/>
                    <a:pt x="505" y="6"/>
                  </a:cubicBezTo>
                  <a:cubicBezTo>
                    <a:pt x="503" y="7"/>
                    <a:pt x="503" y="7"/>
                    <a:pt x="503" y="7"/>
                  </a:cubicBezTo>
                  <a:cubicBezTo>
                    <a:pt x="507" y="7"/>
                    <a:pt x="507" y="7"/>
                    <a:pt x="507" y="7"/>
                  </a:cubicBezTo>
                  <a:cubicBezTo>
                    <a:pt x="505" y="6"/>
                    <a:pt x="505" y="6"/>
                    <a:pt x="505" y="6"/>
                  </a:cubicBezTo>
                  <a:cubicBezTo>
                    <a:pt x="507" y="6"/>
                    <a:pt x="505" y="5"/>
                    <a:pt x="508" y="5"/>
                  </a:cubicBezTo>
                  <a:cubicBezTo>
                    <a:pt x="507" y="5"/>
                    <a:pt x="510" y="5"/>
                    <a:pt x="511" y="6"/>
                  </a:cubicBezTo>
                  <a:cubicBezTo>
                    <a:pt x="511" y="6"/>
                    <a:pt x="511" y="6"/>
                    <a:pt x="511" y="6"/>
                  </a:cubicBezTo>
                  <a:cubicBezTo>
                    <a:pt x="512" y="5"/>
                    <a:pt x="513" y="5"/>
                    <a:pt x="515" y="5"/>
                  </a:cubicBezTo>
                  <a:cubicBezTo>
                    <a:pt x="515" y="6"/>
                    <a:pt x="514" y="7"/>
                    <a:pt x="515" y="7"/>
                  </a:cubicBezTo>
                  <a:cubicBezTo>
                    <a:pt x="516" y="6"/>
                    <a:pt x="520" y="6"/>
                    <a:pt x="521" y="6"/>
                  </a:cubicBezTo>
                  <a:cubicBezTo>
                    <a:pt x="521" y="6"/>
                    <a:pt x="520" y="6"/>
                    <a:pt x="521" y="6"/>
                  </a:cubicBezTo>
                  <a:cubicBezTo>
                    <a:pt x="522" y="6"/>
                    <a:pt x="522" y="6"/>
                    <a:pt x="522" y="6"/>
                  </a:cubicBezTo>
                  <a:cubicBezTo>
                    <a:pt x="522" y="6"/>
                    <a:pt x="523" y="6"/>
                    <a:pt x="522" y="7"/>
                  </a:cubicBezTo>
                  <a:cubicBezTo>
                    <a:pt x="525" y="7"/>
                    <a:pt x="522" y="5"/>
                    <a:pt x="525" y="6"/>
                  </a:cubicBezTo>
                  <a:cubicBezTo>
                    <a:pt x="525" y="6"/>
                    <a:pt x="525" y="6"/>
                    <a:pt x="524" y="6"/>
                  </a:cubicBezTo>
                  <a:cubicBezTo>
                    <a:pt x="528" y="6"/>
                    <a:pt x="531" y="6"/>
                    <a:pt x="534" y="6"/>
                  </a:cubicBezTo>
                  <a:cubicBezTo>
                    <a:pt x="535" y="7"/>
                    <a:pt x="532" y="6"/>
                    <a:pt x="533" y="7"/>
                  </a:cubicBezTo>
                  <a:cubicBezTo>
                    <a:pt x="537" y="7"/>
                    <a:pt x="542" y="6"/>
                    <a:pt x="547" y="6"/>
                  </a:cubicBezTo>
                  <a:cubicBezTo>
                    <a:pt x="546" y="6"/>
                    <a:pt x="546" y="6"/>
                    <a:pt x="546" y="6"/>
                  </a:cubicBezTo>
                  <a:cubicBezTo>
                    <a:pt x="547" y="5"/>
                    <a:pt x="549" y="7"/>
                    <a:pt x="552" y="6"/>
                  </a:cubicBezTo>
                  <a:cubicBezTo>
                    <a:pt x="551" y="6"/>
                    <a:pt x="551" y="7"/>
                    <a:pt x="551" y="7"/>
                  </a:cubicBezTo>
                  <a:cubicBezTo>
                    <a:pt x="554" y="7"/>
                    <a:pt x="558" y="6"/>
                    <a:pt x="562" y="6"/>
                  </a:cubicBezTo>
                  <a:cubicBezTo>
                    <a:pt x="562" y="6"/>
                    <a:pt x="562" y="6"/>
                    <a:pt x="562" y="6"/>
                  </a:cubicBezTo>
                  <a:cubicBezTo>
                    <a:pt x="563" y="7"/>
                    <a:pt x="566" y="6"/>
                    <a:pt x="568" y="7"/>
                  </a:cubicBezTo>
                  <a:cubicBezTo>
                    <a:pt x="569" y="6"/>
                    <a:pt x="570" y="6"/>
                    <a:pt x="569" y="6"/>
                  </a:cubicBezTo>
                  <a:cubicBezTo>
                    <a:pt x="576" y="8"/>
                    <a:pt x="581" y="5"/>
                    <a:pt x="586" y="6"/>
                  </a:cubicBezTo>
                  <a:cubicBezTo>
                    <a:pt x="586" y="6"/>
                    <a:pt x="585" y="7"/>
                    <a:pt x="585" y="7"/>
                  </a:cubicBezTo>
                  <a:cubicBezTo>
                    <a:pt x="590" y="6"/>
                    <a:pt x="590" y="6"/>
                    <a:pt x="590" y="6"/>
                  </a:cubicBezTo>
                  <a:cubicBezTo>
                    <a:pt x="590" y="6"/>
                    <a:pt x="589" y="6"/>
                    <a:pt x="588" y="5"/>
                  </a:cubicBezTo>
                  <a:cubicBezTo>
                    <a:pt x="589" y="5"/>
                    <a:pt x="590" y="5"/>
                    <a:pt x="592" y="5"/>
                  </a:cubicBezTo>
                  <a:cubicBezTo>
                    <a:pt x="589" y="5"/>
                    <a:pt x="592" y="6"/>
                    <a:pt x="592" y="6"/>
                  </a:cubicBezTo>
                  <a:cubicBezTo>
                    <a:pt x="592" y="6"/>
                    <a:pt x="593" y="6"/>
                    <a:pt x="593" y="6"/>
                  </a:cubicBezTo>
                  <a:cubicBezTo>
                    <a:pt x="595" y="7"/>
                    <a:pt x="593" y="4"/>
                    <a:pt x="596" y="5"/>
                  </a:cubicBezTo>
                  <a:cubicBezTo>
                    <a:pt x="596" y="5"/>
                    <a:pt x="596" y="5"/>
                    <a:pt x="596" y="5"/>
                  </a:cubicBezTo>
                  <a:cubicBezTo>
                    <a:pt x="597" y="5"/>
                    <a:pt x="598" y="5"/>
                    <a:pt x="600" y="5"/>
                  </a:cubicBezTo>
                  <a:cubicBezTo>
                    <a:pt x="600" y="6"/>
                    <a:pt x="598" y="5"/>
                    <a:pt x="598" y="6"/>
                  </a:cubicBezTo>
                  <a:cubicBezTo>
                    <a:pt x="600" y="6"/>
                    <a:pt x="602" y="4"/>
                    <a:pt x="604" y="5"/>
                  </a:cubicBezTo>
                  <a:cubicBezTo>
                    <a:pt x="603" y="5"/>
                    <a:pt x="602" y="5"/>
                    <a:pt x="601" y="6"/>
                  </a:cubicBezTo>
                  <a:cubicBezTo>
                    <a:pt x="603" y="6"/>
                    <a:pt x="603" y="6"/>
                    <a:pt x="604" y="6"/>
                  </a:cubicBezTo>
                  <a:cubicBezTo>
                    <a:pt x="604" y="6"/>
                    <a:pt x="604" y="6"/>
                    <a:pt x="604" y="6"/>
                  </a:cubicBezTo>
                  <a:cubicBezTo>
                    <a:pt x="607" y="7"/>
                    <a:pt x="607" y="7"/>
                    <a:pt x="607" y="7"/>
                  </a:cubicBezTo>
                  <a:cubicBezTo>
                    <a:pt x="607" y="6"/>
                    <a:pt x="607" y="6"/>
                    <a:pt x="607" y="6"/>
                  </a:cubicBezTo>
                  <a:cubicBezTo>
                    <a:pt x="609" y="5"/>
                    <a:pt x="611" y="6"/>
                    <a:pt x="614" y="5"/>
                  </a:cubicBezTo>
                  <a:cubicBezTo>
                    <a:pt x="611" y="6"/>
                    <a:pt x="614" y="6"/>
                    <a:pt x="614" y="6"/>
                  </a:cubicBezTo>
                  <a:cubicBezTo>
                    <a:pt x="615" y="7"/>
                    <a:pt x="616" y="7"/>
                    <a:pt x="615" y="7"/>
                  </a:cubicBezTo>
                  <a:cubicBezTo>
                    <a:pt x="617" y="6"/>
                    <a:pt x="618" y="8"/>
                    <a:pt x="620" y="7"/>
                  </a:cubicBezTo>
                  <a:cubicBezTo>
                    <a:pt x="620" y="7"/>
                    <a:pt x="622" y="7"/>
                    <a:pt x="621" y="7"/>
                  </a:cubicBezTo>
                  <a:cubicBezTo>
                    <a:pt x="623" y="7"/>
                    <a:pt x="621" y="7"/>
                    <a:pt x="621" y="7"/>
                  </a:cubicBezTo>
                  <a:cubicBezTo>
                    <a:pt x="624" y="6"/>
                    <a:pt x="628" y="8"/>
                    <a:pt x="632" y="6"/>
                  </a:cubicBezTo>
                  <a:cubicBezTo>
                    <a:pt x="636" y="6"/>
                    <a:pt x="637" y="5"/>
                    <a:pt x="640" y="5"/>
                  </a:cubicBezTo>
                  <a:cubicBezTo>
                    <a:pt x="641" y="5"/>
                    <a:pt x="639" y="6"/>
                    <a:pt x="639" y="6"/>
                  </a:cubicBezTo>
                  <a:cubicBezTo>
                    <a:pt x="641" y="6"/>
                    <a:pt x="642" y="6"/>
                    <a:pt x="644" y="6"/>
                  </a:cubicBezTo>
                  <a:cubicBezTo>
                    <a:pt x="644" y="6"/>
                    <a:pt x="644" y="6"/>
                    <a:pt x="645" y="6"/>
                  </a:cubicBezTo>
                  <a:cubicBezTo>
                    <a:pt x="646" y="6"/>
                    <a:pt x="646" y="5"/>
                    <a:pt x="647" y="6"/>
                  </a:cubicBezTo>
                  <a:cubicBezTo>
                    <a:pt x="647" y="6"/>
                    <a:pt x="647" y="6"/>
                    <a:pt x="646" y="7"/>
                  </a:cubicBezTo>
                  <a:cubicBezTo>
                    <a:pt x="648" y="6"/>
                    <a:pt x="649" y="6"/>
                    <a:pt x="651" y="6"/>
                  </a:cubicBezTo>
                  <a:cubicBezTo>
                    <a:pt x="651" y="6"/>
                    <a:pt x="650" y="6"/>
                    <a:pt x="649" y="7"/>
                  </a:cubicBezTo>
                  <a:cubicBezTo>
                    <a:pt x="651" y="7"/>
                    <a:pt x="654" y="6"/>
                    <a:pt x="655" y="6"/>
                  </a:cubicBezTo>
                  <a:cubicBezTo>
                    <a:pt x="654" y="5"/>
                    <a:pt x="654" y="5"/>
                    <a:pt x="654" y="5"/>
                  </a:cubicBezTo>
                  <a:cubicBezTo>
                    <a:pt x="654" y="5"/>
                    <a:pt x="654" y="6"/>
                    <a:pt x="654" y="6"/>
                  </a:cubicBezTo>
                  <a:cubicBezTo>
                    <a:pt x="652" y="7"/>
                    <a:pt x="651" y="6"/>
                    <a:pt x="651" y="6"/>
                  </a:cubicBezTo>
                  <a:cubicBezTo>
                    <a:pt x="652" y="5"/>
                    <a:pt x="652" y="5"/>
                    <a:pt x="652" y="5"/>
                  </a:cubicBezTo>
                  <a:cubicBezTo>
                    <a:pt x="651" y="4"/>
                    <a:pt x="647" y="6"/>
                    <a:pt x="645" y="6"/>
                  </a:cubicBezTo>
                  <a:cubicBezTo>
                    <a:pt x="646" y="4"/>
                    <a:pt x="646" y="4"/>
                    <a:pt x="646" y="4"/>
                  </a:cubicBezTo>
                  <a:cubicBezTo>
                    <a:pt x="643" y="5"/>
                    <a:pt x="643" y="5"/>
                    <a:pt x="643" y="5"/>
                  </a:cubicBezTo>
                  <a:cubicBezTo>
                    <a:pt x="643" y="5"/>
                    <a:pt x="643" y="4"/>
                    <a:pt x="644" y="4"/>
                  </a:cubicBezTo>
                  <a:cubicBezTo>
                    <a:pt x="642" y="4"/>
                    <a:pt x="642" y="5"/>
                    <a:pt x="641" y="4"/>
                  </a:cubicBezTo>
                  <a:cubicBezTo>
                    <a:pt x="641" y="4"/>
                    <a:pt x="641" y="4"/>
                    <a:pt x="641" y="4"/>
                  </a:cubicBezTo>
                  <a:cubicBezTo>
                    <a:pt x="639" y="4"/>
                    <a:pt x="639" y="4"/>
                    <a:pt x="639" y="4"/>
                  </a:cubicBezTo>
                  <a:cubicBezTo>
                    <a:pt x="639" y="4"/>
                    <a:pt x="639" y="3"/>
                    <a:pt x="640" y="4"/>
                  </a:cubicBezTo>
                  <a:cubicBezTo>
                    <a:pt x="637" y="3"/>
                    <a:pt x="635" y="4"/>
                    <a:pt x="634" y="4"/>
                  </a:cubicBezTo>
                  <a:cubicBezTo>
                    <a:pt x="634" y="4"/>
                    <a:pt x="634" y="4"/>
                    <a:pt x="634" y="4"/>
                  </a:cubicBezTo>
                  <a:cubicBezTo>
                    <a:pt x="630" y="4"/>
                    <a:pt x="633" y="4"/>
                    <a:pt x="630" y="5"/>
                  </a:cubicBezTo>
                  <a:cubicBezTo>
                    <a:pt x="628" y="3"/>
                    <a:pt x="628" y="3"/>
                    <a:pt x="628" y="3"/>
                  </a:cubicBezTo>
                  <a:cubicBezTo>
                    <a:pt x="628" y="4"/>
                    <a:pt x="628" y="4"/>
                    <a:pt x="628" y="4"/>
                  </a:cubicBezTo>
                  <a:cubicBezTo>
                    <a:pt x="627" y="4"/>
                    <a:pt x="626" y="4"/>
                    <a:pt x="627" y="4"/>
                  </a:cubicBezTo>
                  <a:cubicBezTo>
                    <a:pt x="625" y="4"/>
                    <a:pt x="627" y="4"/>
                    <a:pt x="626" y="5"/>
                  </a:cubicBezTo>
                  <a:cubicBezTo>
                    <a:pt x="624" y="4"/>
                    <a:pt x="620" y="5"/>
                    <a:pt x="619" y="4"/>
                  </a:cubicBezTo>
                  <a:cubicBezTo>
                    <a:pt x="619" y="4"/>
                    <a:pt x="622" y="4"/>
                    <a:pt x="619" y="5"/>
                  </a:cubicBezTo>
                  <a:cubicBezTo>
                    <a:pt x="619" y="3"/>
                    <a:pt x="617" y="5"/>
                    <a:pt x="615" y="4"/>
                  </a:cubicBezTo>
                  <a:cubicBezTo>
                    <a:pt x="615" y="3"/>
                    <a:pt x="617" y="4"/>
                    <a:pt x="615" y="3"/>
                  </a:cubicBezTo>
                  <a:cubicBezTo>
                    <a:pt x="614" y="4"/>
                    <a:pt x="611" y="3"/>
                    <a:pt x="610" y="3"/>
                  </a:cubicBezTo>
                  <a:cubicBezTo>
                    <a:pt x="610" y="4"/>
                    <a:pt x="606" y="4"/>
                    <a:pt x="603" y="4"/>
                  </a:cubicBezTo>
                  <a:cubicBezTo>
                    <a:pt x="604" y="4"/>
                    <a:pt x="598" y="3"/>
                    <a:pt x="596" y="3"/>
                  </a:cubicBezTo>
                  <a:cubicBezTo>
                    <a:pt x="596" y="3"/>
                    <a:pt x="596" y="3"/>
                    <a:pt x="596" y="3"/>
                  </a:cubicBezTo>
                  <a:cubicBezTo>
                    <a:pt x="595" y="4"/>
                    <a:pt x="593" y="4"/>
                    <a:pt x="591" y="4"/>
                  </a:cubicBezTo>
                  <a:cubicBezTo>
                    <a:pt x="591" y="3"/>
                    <a:pt x="591" y="3"/>
                    <a:pt x="592" y="3"/>
                  </a:cubicBezTo>
                  <a:cubicBezTo>
                    <a:pt x="590" y="3"/>
                    <a:pt x="590" y="3"/>
                    <a:pt x="590" y="3"/>
                  </a:cubicBezTo>
                  <a:cubicBezTo>
                    <a:pt x="590" y="3"/>
                    <a:pt x="589" y="3"/>
                    <a:pt x="588" y="3"/>
                  </a:cubicBezTo>
                  <a:cubicBezTo>
                    <a:pt x="589" y="3"/>
                    <a:pt x="589" y="3"/>
                    <a:pt x="589" y="3"/>
                  </a:cubicBezTo>
                  <a:cubicBezTo>
                    <a:pt x="586" y="3"/>
                    <a:pt x="584" y="3"/>
                    <a:pt x="581" y="3"/>
                  </a:cubicBezTo>
                  <a:cubicBezTo>
                    <a:pt x="580" y="4"/>
                    <a:pt x="583" y="5"/>
                    <a:pt x="580" y="5"/>
                  </a:cubicBezTo>
                  <a:cubicBezTo>
                    <a:pt x="580" y="5"/>
                    <a:pt x="580" y="4"/>
                    <a:pt x="580" y="4"/>
                  </a:cubicBezTo>
                  <a:cubicBezTo>
                    <a:pt x="580" y="4"/>
                    <a:pt x="579" y="4"/>
                    <a:pt x="579" y="4"/>
                  </a:cubicBezTo>
                  <a:cubicBezTo>
                    <a:pt x="580" y="4"/>
                    <a:pt x="580" y="4"/>
                    <a:pt x="580" y="4"/>
                  </a:cubicBezTo>
                  <a:cubicBezTo>
                    <a:pt x="579" y="3"/>
                    <a:pt x="579" y="4"/>
                    <a:pt x="578" y="4"/>
                  </a:cubicBezTo>
                  <a:cubicBezTo>
                    <a:pt x="578" y="4"/>
                    <a:pt x="577" y="4"/>
                    <a:pt x="578" y="3"/>
                  </a:cubicBezTo>
                  <a:cubicBezTo>
                    <a:pt x="578" y="3"/>
                    <a:pt x="579" y="4"/>
                    <a:pt x="579" y="3"/>
                  </a:cubicBezTo>
                  <a:cubicBezTo>
                    <a:pt x="578" y="3"/>
                    <a:pt x="576" y="3"/>
                    <a:pt x="576" y="3"/>
                  </a:cubicBezTo>
                  <a:cubicBezTo>
                    <a:pt x="576" y="3"/>
                    <a:pt x="576" y="3"/>
                    <a:pt x="575" y="3"/>
                  </a:cubicBezTo>
                  <a:cubicBezTo>
                    <a:pt x="572" y="3"/>
                    <a:pt x="574" y="3"/>
                    <a:pt x="572" y="2"/>
                  </a:cubicBezTo>
                  <a:cubicBezTo>
                    <a:pt x="572" y="3"/>
                    <a:pt x="570" y="2"/>
                    <a:pt x="570" y="3"/>
                  </a:cubicBezTo>
                  <a:cubicBezTo>
                    <a:pt x="570" y="3"/>
                    <a:pt x="569" y="3"/>
                    <a:pt x="569" y="3"/>
                  </a:cubicBezTo>
                  <a:cubicBezTo>
                    <a:pt x="568" y="3"/>
                    <a:pt x="563" y="3"/>
                    <a:pt x="565" y="4"/>
                  </a:cubicBezTo>
                  <a:cubicBezTo>
                    <a:pt x="565" y="4"/>
                    <a:pt x="565" y="4"/>
                    <a:pt x="565" y="4"/>
                  </a:cubicBezTo>
                  <a:cubicBezTo>
                    <a:pt x="565" y="4"/>
                    <a:pt x="565" y="4"/>
                    <a:pt x="565" y="4"/>
                  </a:cubicBezTo>
                  <a:cubicBezTo>
                    <a:pt x="565" y="4"/>
                    <a:pt x="565" y="4"/>
                    <a:pt x="565" y="4"/>
                  </a:cubicBezTo>
                  <a:cubicBezTo>
                    <a:pt x="565" y="4"/>
                    <a:pt x="565" y="4"/>
                    <a:pt x="565" y="4"/>
                  </a:cubicBezTo>
                  <a:cubicBezTo>
                    <a:pt x="561" y="4"/>
                    <a:pt x="556" y="3"/>
                    <a:pt x="552" y="4"/>
                  </a:cubicBezTo>
                  <a:cubicBezTo>
                    <a:pt x="552" y="3"/>
                    <a:pt x="552" y="3"/>
                    <a:pt x="552" y="3"/>
                  </a:cubicBezTo>
                  <a:cubicBezTo>
                    <a:pt x="550" y="4"/>
                    <a:pt x="547" y="3"/>
                    <a:pt x="545" y="4"/>
                  </a:cubicBezTo>
                  <a:cubicBezTo>
                    <a:pt x="544" y="4"/>
                    <a:pt x="544" y="4"/>
                    <a:pt x="544" y="3"/>
                  </a:cubicBezTo>
                  <a:cubicBezTo>
                    <a:pt x="542" y="3"/>
                    <a:pt x="542" y="4"/>
                    <a:pt x="539" y="3"/>
                  </a:cubicBezTo>
                  <a:cubicBezTo>
                    <a:pt x="541" y="3"/>
                    <a:pt x="538" y="3"/>
                    <a:pt x="541" y="3"/>
                  </a:cubicBezTo>
                  <a:cubicBezTo>
                    <a:pt x="539" y="3"/>
                    <a:pt x="538" y="2"/>
                    <a:pt x="535" y="3"/>
                  </a:cubicBezTo>
                  <a:cubicBezTo>
                    <a:pt x="536" y="2"/>
                    <a:pt x="534" y="2"/>
                    <a:pt x="532" y="2"/>
                  </a:cubicBezTo>
                  <a:cubicBezTo>
                    <a:pt x="534" y="3"/>
                    <a:pt x="534" y="3"/>
                    <a:pt x="534" y="3"/>
                  </a:cubicBezTo>
                  <a:cubicBezTo>
                    <a:pt x="533" y="3"/>
                    <a:pt x="532" y="3"/>
                    <a:pt x="531" y="3"/>
                  </a:cubicBezTo>
                  <a:cubicBezTo>
                    <a:pt x="531" y="2"/>
                    <a:pt x="531" y="2"/>
                    <a:pt x="531" y="2"/>
                  </a:cubicBezTo>
                  <a:cubicBezTo>
                    <a:pt x="526" y="1"/>
                    <a:pt x="522" y="4"/>
                    <a:pt x="519" y="2"/>
                  </a:cubicBezTo>
                  <a:cubicBezTo>
                    <a:pt x="517" y="3"/>
                    <a:pt x="521" y="2"/>
                    <a:pt x="520" y="3"/>
                  </a:cubicBezTo>
                  <a:cubicBezTo>
                    <a:pt x="518" y="3"/>
                    <a:pt x="515" y="2"/>
                    <a:pt x="515" y="2"/>
                  </a:cubicBezTo>
                  <a:cubicBezTo>
                    <a:pt x="512" y="1"/>
                    <a:pt x="512" y="3"/>
                    <a:pt x="509" y="3"/>
                  </a:cubicBezTo>
                  <a:cubicBezTo>
                    <a:pt x="509" y="3"/>
                    <a:pt x="509" y="4"/>
                    <a:pt x="507" y="4"/>
                  </a:cubicBezTo>
                  <a:cubicBezTo>
                    <a:pt x="505" y="4"/>
                    <a:pt x="504" y="3"/>
                    <a:pt x="506" y="3"/>
                  </a:cubicBezTo>
                  <a:cubicBezTo>
                    <a:pt x="506" y="3"/>
                    <a:pt x="506" y="3"/>
                    <a:pt x="506" y="3"/>
                  </a:cubicBezTo>
                  <a:cubicBezTo>
                    <a:pt x="507" y="3"/>
                    <a:pt x="508" y="3"/>
                    <a:pt x="507" y="2"/>
                  </a:cubicBezTo>
                  <a:cubicBezTo>
                    <a:pt x="507" y="3"/>
                    <a:pt x="507" y="3"/>
                    <a:pt x="507" y="3"/>
                  </a:cubicBezTo>
                  <a:cubicBezTo>
                    <a:pt x="506" y="2"/>
                    <a:pt x="503" y="2"/>
                    <a:pt x="503" y="2"/>
                  </a:cubicBezTo>
                  <a:cubicBezTo>
                    <a:pt x="502" y="2"/>
                    <a:pt x="503" y="2"/>
                    <a:pt x="504" y="2"/>
                  </a:cubicBezTo>
                  <a:cubicBezTo>
                    <a:pt x="501" y="2"/>
                    <a:pt x="499" y="2"/>
                    <a:pt x="496" y="2"/>
                  </a:cubicBezTo>
                  <a:cubicBezTo>
                    <a:pt x="497" y="2"/>
                    <a:pt x="497" y="3"/>
                    <a:pt x="497" y="3"/>
                  </a:cubicBezTo>
                  <a:cubicBezTo>
                    <a:pt x="492" y="2"/>
                    <a:pt x="495" y="3"/>
                    <a:pt x="492" y="3"/>
                  </a:cubicBezTo>
                  <a:cubicBezTo>
                    <a:pt x="490" y="3"/>
                    <a:pt x="493" y="2"/>
                    <a:pt x="490" y="3"/>
                  </a:cubicBezTo>
                  <a:cubicBezTo>
                    <a:pt x="488" y="2"/>
                    <a:pt x="489" y="2"/>
                    <a:pt x="490" y="1"/>
                  </a:cubicBezTo>
                  <a:cubicBezTo>
                    <a:pt x="487" y="2"/>
                    <a:pt x="485" y="1"/>
                    <a:pt x="483" y="1"/>
                  </a:cubicBezTo>
                  <a:cubicBezTo>
                    <a:pt x="485" y="1"/>
                    <a:pt x="485" y="1"/>
                    <a:pt x="485" y="1"/>
                  </a:cubicBezTo>
                  <a:cubicBezTo>
                    <a:pt x="484" y="1"/>
                    <a:pt x="483" y="1"/>
                    <a:pt x="482" y="1"/>
                  </a:cubicBezTo>
                  <a:cubicBezTo>
                    <a:pt x="483" y="2"/>
                    <a:pt x="483" y="2"/>
                    <a:pt x="483" y="2"/>
                  </a:cubicBezTo>
                  <a:cubicBezTo>
                    <a:pt x="482" y="1"/>
                    <a:pt x="482" y="1"/>
                    <a:pt x="482" y="1"/>
                  </a:cubicBezTo>
                  <a:cubicBezTo>
                    <a:pt x="481" y="2"/>
                    <a:pt x="482" y="2"/>
                    <a:pt x="481" y="3"/>
                  </a:cubicBezTo>
                  <a:cubicBezTo>
                    <a:pt x="479" y="2"/>
                    <a:pt x="477" y="3"/>
                    <a:pt x="477" y="2"/>
                  </a:cubicBezTo>
                  <a:cubicBezTo>
                    <a:pt x="480" y="3"/>
                    <a:pt x="476" y="1"/>
                    <a:pt x="479" y="1"/>
                  </a:cubicBezTo>
                  <a:cubicBezTo>
                    <a:pt x="479" y="1"/>
                    <a:pt x="478" y="1"/>
                    <a:pt x="477" y="1"/>
                  </a:cubicBezTo>
                  <a:cubicBezTo>
                    <a:pt x="477" y="1"/>
                    <a:pt x="477" y="1"/>
                    <a:pt x="478" y="1"/>
                  </a:cubicBezTo>
                  <a:cubicBezTo>
                    <a:pt x="474" y="0"/>
                    <a:pt x="476" y="2"/>
                    <a:pt x="473" y="2"/>
                  </a:cubicBezTo>
                  <a:cubicBezTo>
                    <a:pt x="473" y="1"/>
                    <a:pt x="472" y="1"/>
                    <a:pt x="471" y="1"/>
                  </a:cubicBezTo>
                  <a:cubicBezTo>
                    <a:pt x="473" y="1"/>
                    <a:pt x="472" y="2"/>
                    <a:pt x="471" y="2"/>
                  </a:cubicBezTo>
                  <a:cubicBezTo>
                    <a:pt x="468" y="2"/>
                    <a:pt x="468" y="3"/>
                    <a:pt x="467" y="3"/>
                  </a:cubicBezTo>
                  <a:cubicBezTo>
                    <a:pt x="468" y="3"/>
                    <a:pt x="468" y="3"/>
                    <a:pt x="468" y="3"/>
                  </a:cubicBezTo>
                  <a:cubicBezTo>
                    <a:pt x="468" y="3"/>
                    <a:pt x="467" y="3"/>
                    <a:pt x="465" y="3"/>
                  </a:cubicBezTo>
                  <a:cubicBezTo>
                    <a:pt x="465" y="3"/>
                    <a:pt x="467" y="3"/>
                    <a:pt x="466" y="3"/>
                  </a:cubicBezTo>
                  <a:cubicBezTo>
                    <a:pt x="464" y="4"/>
                    <a:pt x="462" y="2"/>
                    <a:pt x="460" y="3"/>
                  </a:cubicBezTo>
                  <a:cubicBezTo>
                    <a:pt x="458" y="2"/>
                    <a:pt x="460" y="2"/>
                    <a:pt x="459" y="1"/>
                  </a:cubicBezTo>
                  <a:cubicBezTo>
                    <a:pt x="456" y="2"/>
                    <a:pt x="456" y="1"/>
                    <a:pt x="453" y="1"/>
                  </a:cubicBezTo>
                  <a:cubicBezTo>
                    <a:pt x="454" y="2"/>
                    <a:pt x="454" y="2"/>
                    <a:pt x="452" y="2"/>
                  </a:cubicBezTo>
                  <a:cubicBezTo>
                    <a:pt x="456" y="2"/>
                    <a:pt x="456" y="2"/>
                    <a:pt x="456" y="2"/>
                  </a:cubicBezTo>
                  <a:cubicBezTo>
                    <a:pt x="453" y="3"/>
                    <a:pt x="453" y="3"/>
                    <a:pt x="453" y="3"/>
                  </a:cubicBezTo>
                  <a:cubicBezTo>
                    <a:pt x="455" y="3"/>
                    <a:pt x="456" y="2"/>
                    <a:pt x="457" y="3"/>
                  </a:cubicBezTo>
                  <a:cubicBezTo>
                    <a:pt x="456" y="3"/>
                    <a:pt x="456" y="3"/>
                    <a:pt x="457" y="3"/>
                  </a:cubicBezTo>
                  <a:cubicBezTo>
                    <a:pt x="455" y="3"/>
                    <a:pt x="453" y="4"/>
                    <a:pt x="450" y="3"/>
                  </a:cubicBezTo>
                  <a:cubicBezTo>
                    <a:pt x="451" y="2"/>
                    <a:pt x="451" y="2"/>
                    <a:pt x="451" y="2"/>
                  </a:cubicBezTo>
                  <a:cubicBezTo>
                    <a:pt x="447" y="1"/>
                    <a:pt x="445" y="3"/>
                    <a:pt x="440" y="2"/>
                  </a:cubicBezTo>
                  <a:cubicBezTo>
                    <a:pt x="442" y="3"/>
                    <a:pt x="442" y="3"/>
                    <a:pt x="442" y="3"/>
                  </a:cubicBezTo>
                  <a:cubicBezTo>
                    <a:pt x="441" y="3"/>
                    <a:pt x="439" y="3"/>
                    <a:pt x="437" y="3"/>
                  </a:cubicBezTo>
                  <a:cubicBezTo>
                    <a:pt x="438" y="2"/>
                    <a:pt x="437" y="2"/>
                    <a:pt x="436" y="2"/>
                  </a:cubicBezTo>
                  <a:cubicBezTo>
                    <a:pt x="436" y="2"/>
                    <a:pt x="433" y="2"/>
                    <a:pt x="432" y="3"/>
                  </a:cubicBezTo>
                  <a:cubicBezTo>
                    <a:pt x="431" y="2"/>
                    <a:pt x="431" y="2"/>
                    <a:pt x="431" y="2"/>
                  </a:cubicBezTo>
                  <a:cubicBezTo>
                    <a:pt x="427" y="2"/>
                    <a:pt x="426" y="4"/>
                    <a:pt x="423" y="3"/>
                  </a:cubicBezTo>
                  <a:cubicBezTo>
                    <a:pt x="424" y="3"/>
                    <a:pt x="423" y="3"/>
                    <a:pt x="425" y="2"/>
                  </a:cubicBezTo>
                  <a:cubicBezTo>
                    <a:pt x="424" y="2"/>
                    <a:pt x="423" y="2"/>
                    <a:pt x="423" y="2"/>
                  </a:cubicBezTo>
                  <a:cubicBezTo>
                    <a:pt x="422" y="2"/>
                    <a:pt x="420" y="3"/>
                    <a:pt x="418" y="3"/>
                  </a:cubicBezTo>
                  <a:cubicBezTo>
                    <a:pt x="418" y="3"/>
                    <a:pt x="418" y="3"/>
                    <a:pt x="417" y="3"/>
                  </a:cubicBezTo>
                  <a:cubicBezTo>
                    <a:pt x="416" y="3"/>
                    <a:pt x="417" y="3"/>
                    <a:pt x="417" y="3"/>
                  </a:cubicBezTo>
                  <a:cubicBezTo>
                    <a:pt x="417" y="3"/>
                    <a:pt x="415" y="3"/>
                    <a:pt x="416" y="4"/>
                  </a:cubicBezTo>
                  <a:cubicBezTo>
                    <a:pt x="412" y="2"/>
                    <a:pt x="406" y="4"/>
                    <a:pt x="403" y="3"/>
                  </a:cubicBezTo>
                  <a:cubicBezTo>
                    <a:pt x="400" y="3"/>
                    <a:pt x="397" y="3"/>
                    <a:pt x="395" y="3"/>
                  </a:cubicBezTo>
                  <a:cubicBezTo>
                    <a:pt x="395" y="3"/>
                    <a:pt x="395" y="3"/>
                    <a:pt x="396" y="3"/>
                  </a:cubicBezTo>
                  <a:cubicBezTo>
                    <a:pt x="392" y="2"/>
                    <a:pt x="394" y="4"/>
                    <a:pt x="390" y="4"/>
                  </a:cubicBezTo>
                  <a:cubicBezTo>
                    <a:pt x="388" y="3"/>
                    <a:pt x="392" y="3"/>
                    <a:pt x="391" y="3"/>
                  </a:cubicBezTo>
                  <a:cubicBezTo>
                    <a:pt x="390" y="1"/>
                    <a:pt x="387" y="3"/>
                    <a:pt x="384" y="2"/>
                  </a:cubicBezTo>
                  <a:cubicBezTo>
                    <a:pt x="385" y="2"/>
                    <a:pt x="385" y="2"/>
                    <a:pt x="385" y="2"/>
                  </a:cubicBezTo>
                  <a:cubicBezTo>
                    <a:pt x="383" y="2"/>
                    <a:pt x="380" y="3"/>
                    <a:pt x="377" y="3"/>
                  </a:cubicBezTo>
                  <a:cubicBezTo>
                    <a:pt x="377" y="3"/>
                    <a:pt x="378" y="3"/>
                    <a:pt x="377" y="2"/>
                  </a:cubicBezTo>
                  <a:cubicBezTo>
                    <a:pt x="375" y="3"/>
                    <a:pt x="372" y="4"/>
                    <a:pt x="369" y="4"/>
                  </a:cubicBezTo>
                  <a:cubicBezTo>
                    <a:pt x="370" y="3"/>
                    <a:pt x="370" y="4"/>
                    <a:pt x="369" y="3"/>
                  </a:cubicBezTo>
                  <a:cubicBezTo>
                    <a:pt x="368" y="3"/>
                    <a:pt x="370" y="4"/>
                    <a:pt x="367" y="4"/>
                  </a:cubicBezTo>
                  <a:cubicBezTo>
                    <a:pt x="366" y="4"/>
                    <a:pt x="365" y="3"/>
                    <a:pt x="364" y="3"/>
                  </a:cubicBezTo>
                  <a:cubicBezTo>
                    <a:pt x="367" y="3"/>
                    <a:pt x="367" y="3"/>
                    <a:pt x="367" y="3"/>
                  </a:cubicBezTo>
                  <a:cubicBezTo>
                    <a:pt x="366" y="2"/>
                    <a:pt x="364" y="3"/>
                    <a:pt x="362" y="3"/>
                  </a:cubicBezTo>
                  <a:cubicBezTo>
                    <a:pt x="363" y="2"/>
                    <a:pt x="363" y="2"/>
                    <a:pt x="363" y="2"/>
                  </a:cubicBezTo>
                  <a:cubicBezTo>
                    <a:pt x="359" y="2"/>
                    <a:pt x="359" y="3"/>
                    <a:pt x="355" y="3"/>
                  </a:cubicBezTo>
                  <a:cubicBezTo>
                    <a:pt x="355" y="4"/>
                    <a:pt x="355" y="4"/>
                    <a:pt x="355" y="4"/>
                  </a:cubicBezTo>
                  <a:cubicBezTo>
                    <a:pt x="353" y="5"/>
                    <a:pt x="353" y="3"/>
                    <a:pt x="351" y="4"/>
                  </a:cubicBezTo>
                  <a:cubicBezTo>
                    <a:pt x="351" y="3"/>
                    <a:pt x="351" y="3"/>
                    <a:pt x="351" y="3"/>
                  </a:cubicBezTo>
                  <a:cubicBezTo>
                    <a:pt x="349" y="3"/>
                    <a:pt x="346" y="4"/>
                    <a:pt x="343" y="4"/>
                  </a:cubicBezTo>
                  <a:cubicBezTo>
                    <a:pt x="344" y="3"/>
                    <a:pt x="347" y="3"/>
                    <a:pt x="349" y="2"/>
                  </a:cubicBezTo>
                  <a:cubicBezTo>
                    <a:pt x="348" y="2"/>
                    <a:pt x="344" y="2"/>
                    <a:pt x="344" y="3"/>
                  </a:cubicBezTo>
                  <a:cubicBezTo>
                    <a:pt x="344" y="3"/>
                    <a:pt x="345" y="2"/>
                    <a:pt x="346" y="3"/>
                  </a:cubicBezTo>
                  <a:cubicBezTo>
                    <a:pt x="344" y="3"/>
                    <a:pt x="342" y="4"/>
                    <a:pt x="339" y="4"/>
                  </a:cubicBezTo>
                  <a:cubicBezTo>
                    <a:pt x="339" y="2"/>
                    <a:pt x="331" y="3"/>
                    <a:pt x="329" y="2"/>
                  </a:cubicBezTo>
                  <a:cubicBezTo>
                    <a:pt x="324" y="3"/>
                    <a:pt x="319" y="1"/>
                    <a:pt x="314" y="2"/>
                  </a:cubicBezTo>
                  <a:cubicBezTo>
                    <a:pt x="316" y="3"/>
                    <a:pt x="312" y="2"/>
                    <a:pt x="312" y="3"/>
                  </a:cubicBezTo>
                  <a:cubicBezTo>
                    <a:pt x="311" y="3"/>
                    <a:pt x="310" y="3"/>
                    <a:pt x="310" y="3"/>
                  </a:cubicBezTo>
                  <a:cubicBezTo>
                    <a:pt x="306" y="2"/>
                    <a:pt x="306" y="2"/>
                    <a:pt x="306" y="2"/>
                  </a:cubicBezTo>
                  <a:cubicBezTo>
                    <a:pt x="305" y="2"/>
                    <a:pt x="307" y="2"/>
                    <a:pt x="307" y="1"/>
                  </a:cubicBezTo>
                  <a:cubicBezTo>
                    <a:pt x="304" y="1"/>
                    <a:pt x="306" y="1"/>
                    <a:pt x="304" y="0"/>
                  </a:cubicBezTo>
                  <a:cubicBezTo>
                    <a:pt x="304" y="1"/>
                    <a:pt x="303" y="1"/>
                    <a:pt x="301" y="1"/>
                  </a:cubicBezTo>
                  <a:cubicBezTo>
                    <a:pt x="304" y="2"/>
                    <a:pt x="304" y="2"/>
                    <a:pt x="304" y="2"/>
                  </a:cubicBezTo>
                  <a:cubicBezTo>
                    <a:pt x="300" y="3"/>
                    <a:pt x="300" y="0"/>
                    <a:pt x="296" y="1"/>
                  </a:cubicBezTo>
                  <a:cubicBezTo>
                    <a:pt x="297" y="1"/>
                    <a:pt x="297" y="1"/>
                    <a:pt x="297" y="1"/>
                  </a:cubicBezTo>
                  <a:cubicBezTo>
                    <a:pt x="295" y="1"/>
                    <a:pt x="289" y="1"/>
                    <a:pt x="287" y="2"/>
                  </a:cubicBezTo>
                  <a:cubicBezTo>
                    <a:pt x="287" y="2"/>
                    <a:pt x="286" y="1"/>
                    <a:pt x="287" y="1"/>
                  </a:cubicBezTo>
                  <a:cubicBezTo>
                    <a:pt x="282" y="1"/>
                    <a:pt x="276" y="3"/>
                    <a:pt x="272" y="2"/>
                  </a:cubicBezTo>
                  <a:cubicBezTo>
                    <a:pt x="272" y="1"/>
                    <a:pt x="272" y="1"/>
                    <a:pt x="272" y="1"/>
                  </a:cubicBezTo>
                  <a:cubicBezTo>
                    <a:pt x="271" y="2"/>
                    <a:pt x="271" y="2"/>
                    <a:pt x="269" y="2"/>
                  </a:cubicBezTo>
                  <a:cubicBezTo>
                    <a:pt x="269" y="2"/>
                    <a:pt x="270" y="1"/>
                    <a:pt x="269" y="1"/>
                  </a:cubicBezTo>
                  <a:cubicBezTo>
                    <a:pt x="269" y="2"/>
                    <a:pt x="267" y="2"/>
                    <a:pt x="265" y="2"/>
                  </a:cubicBezTo>
                  <a:cubicBezTo>
                    <a:pt x="267" y="1"/>
                    <a:pt x="267" y="1"/>
                    <a:pt x="267" y="1"/>
                  </a:cubicBezTo>
                  <a:cubicBezTo>
                    <a:pt x="262" y="1"/>
                    <a:pt x="259" y="2"/>
                    <a:pt x="255" y="3"/>
                  </a:cubicBezTo>
                  <a:cubicBezTo>
                    <a:pt x="255" y="2"/>
                    <a:pt x="251" y="1"/>
                    <a:pt x="249" y="1"/>
                  </a:cubicBezTo>
                  <a:cubicBezTo>
                    <a:pt x="249" y="1"/>
                    <a:pt x="249" y="1"/>
                    <a:pt x="249" y="1"/>
                  </a:cubicBezTo>
                  <a:cubicBezTo>
                    <a:pt x="243" y="1"/>
                    <a:pt x="239" y="2"/>
                    <a:pt x="234" y="2"/>
                  </a:cubicBezTo>
                  <a:cubicBezTo>
                    <a:pt x="230" y="1"/>
                    <a:pt x="222" y="2"/>
                    <a:pt x="217" y="1"/>
                  </a:cubicBezTo>
                  <a:cubicBezTo>
                    <a:pt x="218" y="1"/>
                    <a:pt x="217" y="2"/>
                    <a:pt x="216" y="2"/>
                  </a:cubicBezTo>
                  <a:cubicBezTo>
                    <a:pt x="214" y="2"/>
                    <a:pt x="212" y="3"/>
                    <a:pt x="212" y="2"/>
                  </a:cubicBezTo>
                  <a:cubicBezTo>
                    <a:pt x="213" y="2"/>
                    <a:pt x="213" y="2"/>
                    <a:pt x="213" y="2"/>
                  </a:cubicBezTo>
                  <a:cubicBezTo>
                    <a:pt x="212" y="1"/>
                    <a:pt x="209" y="1"/>
                    <a:pt x="207" y="1"/>
                  </a:cubicBezTo>
                  <a:cubicBezTo>
                    <a:pt x="207" y="2"/>
                    <a:pt x="207" y="2"/>
                    <a:pt x="207" y="2"/>
                  </a:cubicBezTo>
                  <a:cubicBezTo>
                    <a:pt x="202" y="0"/>
                    <a:pt x="193" y="3"/>
                    <a:pt x="190" y="1"/>
                  </a:cubicBezTo>
                  <a:cubicBezTo>
                    <a:pt x="189" y="2"/>
                    <a:pt x="187" y="2"/>
                    <a:pt x="186" y="2"/>
                  </a:cubicBezTo>
                  <a:cubicBezTo>
                    <a:pt x="186" y="1"/>
                    <a:pt x="186" y="1"/>
                    <a:pt x="186" y="1"/>
                  </a:cubicBezTo>
                  <a:cubicBezTo>
                    <a:pt x="183" y="1"/>
                    <a:pt x="181" y="1"/>
                    <a:pt x="176" y="1"/>
                  </a:cubicBezTo>
                  <a:cubicBezTo>
                    <a:pt x="177" y="1"/>
                    <a:pt x="177" y="1"/>
                    <a:pt x="177" y="1"/>
                  </a:cubicBezTo>
                  <a:cubicBezTo>
                    <a:pt x="175" y="1"/>
                    <a:pt x="174" y="3"/>
                    <a:pt x="172" y="3"/>
                  </a:cubicBezTo>
                  <a:cubicBezTo>
                    <a:pt x="171" y="2"/>
                    <a:pt x="171" y="2"/>
                    <a:pt x="171" y="2"/>
                  </a:cubicBezTo>
                  <a:cubicBezTo>
                    <a:pt x="167" y="2"/>
                    <a:pt x="162" y="1"/>
                    <a:pt x="158" y="2"/>
                  </a:cubicBezTo>
                  <a:cubicBezTo>
                    <a:pt x="158" y="2"/>
                    <a:pt x="158" y="1"/>
                    <a:pt x="159" y="1"/>
                  </a:cubicBezTo>
                  <a:cubicBezTo>
                    <a:pt x="157" y="1"/>
                    <a:pt x="151" y="0"/>
                    <a:pt x="152" y="2"/>
                  </a:cubicBezTo>
                  <a:cubicBezTo>
                    <a:pt x="152" y="1"/>
                    <a:pt x="148" y="2"/>
                    <a:pt x="145" y="2"/>
                  </a:cubicBezTo>
                  <a:cubicBezTo>
                    <a:pt x="146" y="2"/>
                    <a:pt x="146" y="2"/>
                    <a:pt x="146" y="2"/>
                  </a:cubicBezTo>
                  <a:cubicBezTo>
                    <a:pt x="144" y="3"/>
                    <a:pt x="144" y="3"/>
                    <a:pt x="141" y="3"/>
                  </a:cubicBezTo>
                  <a:cubicBezTo>
                    <a:pt x="140" y="3"/>
                    <a:pt x="140" y="3"/>
                    <a:pt x="141" y="3"/>
                  </a:cubicBezTo>
                  <a:cubicBezTo>
                    <a:pt x="139" y="2"/>
                    <a:pt x="139" y="3"/>
                    <a:pt x="137" y="3"/>
                  </a:cubicBezTo>
                  <a:cubicBezTo>
                    <a:pt x="138" y="3"/>
                    <a:pt x="138" y="3"/>
                    <a:pt x="138" y="3"/>
                  </a:cubicBezTo>
                  <a:cubicBezTo>
                    <a:pt x="135" y="2"/>
                    <a:pt x="136" y="3"/>
                    <a:pt x="134" y="3"/>
                  </a:cubicBezTo>
                  <a:cubicBezTo>
                    <a:pt x="133" y="4"/>
                    <a:pt x="130" y="3"/>
                    <a:pt x="130" y="2"/>
                  </a:cubicBezTo>
                  <a:cubicBezTo>
                    <a:pt x="130" y="3"/>
                    <a:pt x="128" y="3"/>
                    <a:pt x="127" y="3"/>
                  </a:cubicBezTo>
                  <a:cubicBezTo>
                    <a:pt x="127" y="3"/>
                    <a:pt x="127" y="3"/>
                    <a:pt x="128" y="3"/>
                  </a:cubicBezTo>
                  <a:cubicBezTo>
                    <a:pt x="124" y="2"/>
                    <a:pt x="122" y="4"/>
                    <a:pt x="119" y="3"/>
                  </a:cubicBezTo>
                  <a:cubicBezTo>
                    <a:pt x="119" y="3"/>
                    <a:pt x="119" y="2"/>
                    <a:pt x="119" y="2"/>
                  </a:cubicBezTo>
                  <a:cubicBezTo>
                    <a:pt x="122" y="2"/>
                    <a:pt x="124" y="2"/>
                    <a:pt x="124" y="3"/>
                  </a:cubicBezTo>
                  <a:cubicBezTo>
                    <a:pt x="124" y="2"/>
                    <a:pt x="122" y="2"/>
                    <a:pt x="124" y="1"/>
                  </a:cubicBezTo>
                  <a:cubicBezTo>
                    <a:pt x="122" y="1"/>
                    <a:pt x="118" y="2"/>
                    <a:pt x="116" y="2"/>
                  </a:cubicBezTo>
                  <a:cubicBezTo>
                    <a:pt x="116" y="2"/>
                    <a:pt x="116" y="2"/>
                    <a:pt x="116" y="2"/>
                  </a:cubicBezTo>
                  <a:cubicBezTo>
                    <a:pt x="116" y="2"/>
                    <a:pt x="116" y="2"/>
                    <a:pt x="116" y="2"/>
                  </a:cubicBezTo>
                  <a:cubicBezTo>
                    <a:pt x="115" y="2"/>
                    <a:pt x="115" y="2"/>
                    <a:pt x="115" y="2"/>
                  </a:cubicBezTo>
                  <a:cubicBezTo>
                    <a:pt x="114" y="2"/>
                    <a:pt x="113" y="2"/>
                    <a:pt x="113" y="2"/>
                  </a:cubicBezTo>
                  <a:cubicBezTo>
                    <a:pt x="112" y="1"/>
                    <a:pt x="110" y="1"/>
                    <a:pt x="109" y="1"/>
                  </a:cubicBezTo>
                  <a:cubicBezTo>
                    <a:pt x="109" y="2"/>
                    <a:pt x="107" y="2"/>
                    <a:pt x="109" y="3"/>
                  </a:cubicBezTo>
                  <a:cubicBezTo>
                    <a:pt x="108" y="3"/>
                    <a:pt x="109" y="2"/>
                    <a:pt x="110" y="2"/>
                  </a:cubicBezTo>
                  <a:cubicBezTo>
                    <a:pt x="110" y="2"/>
                    <a:pt x="110" y="2"/>
                    <a:pt x="110" y="2"/>
                  </a:cubicBezTo>
                  <a:cubicBezTo>
                    <a:pt x="110" y="2"/>
                    <a:pt x="110" y="2"/>
                    <a:pt x="110" y="2"/>
                  </a:cubicBezTo>
                  <a:cubicBezTo>
                    <a:pt x="111" y="2"/>
                    <a:pt x="112" y="2"/>
                    <a:pt x="113" y="2"/>
                  </a:cubicBezTo>
                  <a:cubicBezTo>
                    <a:pt x="112" y="3"/>
                    <a:pt x="111" y="3"/>
                    <a:pt x="110" y="3"/>
                  </a:cubicBezTo>
                  <a:cubicBezTo>
                    <a:pt x="109" y="3"/>
                    <a:pt x="109" y="4"/>
                    <a:pt x="108" y="4"/>
                  </a:cubicBezTo>
                  <a:cubicBezTo>
                    <a:pt x="107" y="3"/>
                    <a:pt x="103" y="2"/>
                    <a:pt x="103" y="2"/>
                  </a:cubicBezTo>
                  <a:cubicBezTo>
                    <a:pt x="99" y="2"/>
                    <a:pt x="94" y="2"/>
                    <a:pt x="92" y="3"/>
                  </a:cubicBezTo>
                  <a:cubicBezTo>
                    <a:pt x="91" y="4"/>
                    <a:pt x="91" y="3"/>
                    <a:pt x="90" y="3"/>
                  </a:cubicBezTo>
                  <a:cubicBezTo>
                    <a:pt x="91" y="3"/>
                    <a:pt x="92" y="3"/>
                    <a:pt x="92" y="2"/>
                  </a:cubicBezTo>
                  <a:cubicBezTo>
                    <a:pt x="90" y="3"/>
                    <a:pt x="86" y="3"/>
                    <a:pt x="85" y="4"/>
                  </a:cubicBezTo>
                  <a:cubicBezTo>
                    <a:pt x="83" y="3"/>
                    <a:pt x="87" y="3"/>
                    <a:pt x="83" y="3"/>
                  </a:cubicBezTo>
                  <a:cubicBezTo>
                    <a:pt x="84" y="2"/>
                    <a:pt x="84" y="2"/>
                    <a:pt x="84" y="2"/>
                  </a:cubicBezTo>
                  <a:cubicBezTo>
                    <a:pt x="77" y="1"/>
                    <a:pt x="72" y="5"/>
                    <a:pt x="65" y="3"/>
                  </a:cubicBezTo>
                  <a:cubicBezTo>
                    <a:pt x="65" y="3"/>
                    <a:pt x="65" y="3"/>
                    <a:pt x="65" y="3"/>
                  </a:cubicBezTo>
                  <a:cubicBezTo>
                    <a:pt x="57" y="2"/>
                    <a:pt x="47" y="4"/>
                    <a:pt x="38" y="3"/>
                  </a:cubicBezTo>
                  <a:cubicBezTo>
                    <a:pt x="36" y="2"/>
                    <a:pt x="35" y="3"/>
                    <a:pt x="34" y="4"/>
                  </a:cubicBezTo>
                  <a:cubicBezTo>
                    <a:pt x="33" y="3"/>
                    <a:pt x="33" y="3"/>
                    <a:pt x="33" y="3"/>
                  </a:cubicBezTo>
                  <a:cubicBezTo>
                    <a:pt x="31" y="4"/>
                    <a:pt x="31" y="4"/>
                    <a:pt x="31" y="4"/>
                  </a:cubicBezTo>
                  <a:cubicBezTo>
                    <a:pt x="27" y="4"/>
                    <a:pt x="24" y="2"/>
                    <a:pt x="20" y="3"/>
                  </a:cubicBezTo>
                  <a:cubicBezTo>
                    <a:pt x="20" y="4"/>
                    <a:pt x="20" y="4"/>
                    <a:pt x="20" y="4"/>
                  </a:cubicBezTo>
                  <a:cubicBezTo>
                    <a:pt x="19" y="3"/>
                    <a:pt x="15" y="4"/>
                    <a:pt x="15" y="3"/>
                  </a:cubicBezTo>
                  <a:cubicBezTo>
                    <a:pt x="15" y="3"/>
                    <a:pt x="15" y="4"/>
                    <a:pt x="14" y="3"/>
                  </a:cubicBezTo>
                  <a:cubicBezTo>
                    <a:pt x="14" y="3"/>
                    <a:pt x="14" y="3"/>
                    <a:pt x="14" y="3"/>
                  </a:cubicBezTo>
                  <a:cubicBezTo>
                    <a:pt x="10" y="4"/>
                    <a:pt x="10" y="4"/>
                    <a:pt x="10" y="4"/>
                  </a:cubicBezTo>
                  <a:cubicBezTo>
                    <a:pt x="7" y="3"/>
                    <a:pt x="10" y="2"/>
                    <a:pt x="6" y="2"/>
                  </a:cubicBezTo>
                  <a:cubicBezTo>
                    <a:pt x="4" y="2"/>
                    <a:pt x="1" y="3"/>
                    <a:pt x="1" y="4"/>
                  </a:cubicBezTo>
                  <a:cubicBezTo>
                    <a:pt x="2" y="4"/>
                    <a:pt x="3" y="4"/>
                    <a:pt x="3" y="4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1" y="6"/>
                    <a:pt x="0" y="7"/>
                    <a:pt x="4" y="8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8" y="8"/>
                    <a:pt x="8" y="8"/>
                    <a:pt x="8" y="8"/>
                  </a:cubicBezTo>
                  <a:cubicBezTo>
                    <a:pt x="5" y="8"/>
                    <a:pt x="5" y="8"/>
                    <a:pt x="5" y="8"/>
                  </a:cubicBezTo>
                  <a:cubicBezTo>
                    <a:pt x="7" y="8"/>
                    <a:pt x="7" y="8"/>
                    <a:pt x="8" y="7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7"/>
                    <a:pt x="11" y="8"/>
                    <a:pt x="13" y="8"/>
                  </a:cubicBezTo>
                  <a:cubicBezTo>
                    <a:pt x="14" y="8"/>
                    <a:pt x="12" y="7"/>
                    <a:pt x="14" y="7"/>
                  </a:cubicBezTo>
                  <a:cubicBezTo>
                    <a:pt x="15" y="7"/>
                    <a:pt x="15" y="8"/>
                    <a:pt x="16" y="7"/>
                  </a:cubicBezTo>
                  <a:cubicBezTo>
                    <a:pt x="16" y="8"/>
                    <a:pt x="16" y="8"/>
                    <a:pt x="15" y="8"/>
                  </a:cubicBezTo>
                  <a:cubicBezTo>
                    <a:pt x="17" y="8"/>
                    <a:pt x="19" y="8"/>
                    <a:pt x="20" y="7"/>
                  </a:cubicBezTo>
                  <a:cubicBezTo>
                    <a:pt x="21" y="8"/>
                    <a:pt x="24" y="7"/>
                    <a:pt x="24" y="8"/>
                  </a:cubicBezTo>
                  <a:cubicBezTo>
                    <a:pt x="25" y="8"/>
                    <a:pt x="27" y="7"/>
                    <a:pt x="28" y="7"/>
                  </a:cubicBezTo>
                  <a:cubicBezTo>
                    <a:pt x="25" y="9"/>
                    <a:pt x="32" y="7"/>
                    <a:pt x="32" y="9"/>
                  </a:cubicBezTo>
                  <a:cubicBezTo>
                    <a:pt x="34" y="7"/>
                    <a:pt x="38" y="8"/>
                    <a:pt x="41" y="7"/>
                  </a:cubicBezTo>
                  <a:cubicBezTo>
                    <a:pt x="41" y="8"/>
                    <a:pt x="40" y="8"/>
                    <a:pt x="40" y="8"/>
                  </a:cubicBezTo>
                  <a:cubicBezTo>
                    <a:pt x="42" y="8"/>
                    <a:pt x="42" y="8"/>
                    <a:pt x="43" y="8"/>
                  </a:cubicBezTo>
                  <a:cubicBezTo>
                    <a:pt x="44" y="7"/>
                    <a:pt x="46" y="7"/>
                    <a:pt x="48" y="6"/>
                  </a:cubicBezTo>
                  <a:cubicBezTo>
                    <a:pt x="50" y="7"/>
                    <a:pt x="46" y="8"/>
                    <a:pt x="47" y="9"/>
                  </a:cubicBezTo>
                  <a:cubicBezTo>
                    <a:pt x="47" y="8"/>
                    <a:pt x="51" y="8"/>
                    <a:pt x="50" y="7"/>
                  </a:cubicBezTo>
                  <a:cubicBezTo>
                    <a:pt x="52" y="8"/>
                    <a:pt x="51" y="7"/>
                    <a:pt x="52" y="8"/>
                  </a:cubicBezTo>
                  <a:cubicBezTo>
                    <a:pt x="52" y="7"/>
                    <a:pt x="54" y="8"/>
                    <a:pt x="55" y="7"/>
                  </a:cubicBezTo>
                  <a:cubicBezTo>
                    <a:pt x="57" y="8"/>
                    <a:pt x="56" y="8"/>
                    <a:pt x="58" y="8"/>
                  </a:cubicBezTo>
                  <a:cubicBezTo>
                    <a:pt x="59" y="8"/>
                    <a:pt x="57" y="9"/>
                    <a:pt x="57" y="9"/>
                  </a:cubicBezTo>
                  <a:close/>
                  <a:moveTo>
                    <a:pt x="117" y="7"/>
                  </a:moveTo>
                  <a:cubicBezTo>
                    <a:pt x="117" y="7"/>
                    <a:pt x="117" y="7"/>
                    <a:pt x="117" y="7"/>
                  </a:cubicBezTo>
                  <a:cubicBezTo>
                    <a:pt x="116" y="7"/>
                    <a:pt x="116" y="7"/>
                    <a:pt x="115" y="7"/>
                  </a:cubicBezTo>
                  <a:cubicBezTo>
                    <a:pt x="116" y="7"/>
                    <a:pt x="116" y="7"/>
                    <a:pt x="117" y="7"/>
                  </a:cubicBezTo>
                  <a:close/>
                  <a:moveTo>
                    <a:pt x="122" y="7"/>
                  </a:moveTo>
                  <a:cubicBezTo>
                    <a:pt x="121" y="7"/>
                    <a:pt x="120" y="7"/>
                    <a:pt x="120" y="7"/>
                  </a:cubicBezTo>
                  <a:cubicBezTo>
                    <a:pt x="119" y="6"/>
                    <a:pt x="120" y="6"/>
                    <a:pt x="120" y="6"/>
                  </a:cubicBezTo>
                  <a:cubicBezTo>
                    <a:pt x="120" y="6"/>
                    <a:pt x="121" y="6"/>
                    <a:pt x="122" y="7"/>
                  </a:cubicBezTo>
                  <a:close/>
                  <a:moveTo>
                    <a:pt x="111" y="1"/>
                  </a:moveTo>
                  <a:cubicBezTo>
                    <a:pt x="112" y="1"/>
                    <a:pt x="112" y="2"/>
                    <a:pt x="112" y="2"/>
                  </a:cubicBezTo>
                  <a:cubicBezTo>
                    <a:pt x="112" y="2"/>
                    <a:pt x="111" y="2"/>
                    <a:pt x="111" y="2"/>
                  </a:cubicBezTo>
                  <a:cubicBezTo>
                    <a:pt x="111" y="2"/>
                    <a:pt x="111" y="2"/>
                    <a:pt x="111" y="2"/>
                  </a:cubicBezTo>
                  <a:cubicBezTo>
                    <a:pt x="111" y="2"/>
                    <a:pt x="111" y="2"/>
                    <a:pt x="111" y="1"/>
                  </a:cubicBezTo>
                  <a:close/>
                </a:path>
              </a:pathLst>
            </a:custGeom>
            <a:solidFill>
              <a:schemeClr val="tx2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F3250"/>
                </a:solidFill>
                <a:effectLst/>
                <a:uLnTx/>
                <a:uFillTx/>
              </a:endParaRPr>
            </a:p>
          </p:txBody>
        </p:sp>
        <p:grpSp>
          <p:nvGrpSpPr>
            <p:cNvPr id="42" name="Group 41">
              <a:extLst>
                <a:ext uri="{FF2B5EF4-FFF2-40B4-BE49-F238E27FC236}">
                  <a16:creationId xmlns:a16="http://schemas.microsoft.com/office/drawing/2014/main" id="{F5959C43-6BEF-A4F5-DDAF-03E22D95D4AD}"/>
                </a:ext>
              </a:extLst>
            </p:cNvPr>
            <p:cNvGrpSpPr/>
            <p:nvPr/>
          </p:nvGrpSpPr>
          <p:grpSpPr>
            <a:xfrm>
              <a:off x="4365639" y="2212039"/>
              <a:ext cx="126733" cy="368277"/>
              <a:chOff x="4385732" y="2157452"/>
              <a:chExt cx="126733" cy="368277"/>
            </a:xfrm>
          </p:grpSpPr>
          <p:sp>
            <p:nvSpPr>
              <p:cNvPr id="37" name="Rectangle 36">
                <a:extLst>
                  <a:ext uri="{FF2B5EF4-FFF2-40B4-BE49-F238E27FC236}">
                    <a16:creationId xmlns:a16="http://schemas.microsoft.com/office/drawing/2014/main" id="{FD59D4F6-433E-A119-478B-366D4BF69C97}"/>
                  </a:ext>
                </a:extLst>
              </p:cNvPr>
              <p:cNvSpPr/>
              <p:nvPr/>
            </p:nvSpPr>
            <p:spPr bwMode="gray">
              <a:xfrm>
                <a:off x="4428078" y="2157452"/>
                <a:ext cx="42040" cy="368277"/>
              </a:xfrm>
              <a:prstGeom prst="rect">
                <a:avLst/>
              </a:prstGeom>
              <a:solidFill>
                <a:srgbClr val="FFFFFF"/>
              </a:solidFill>
              <a:ln w="9525" algn="ctr">
                <a:noFill/>
                <a:miter lim="800000"/>
                <a:headEnd/>
                <a:tailEnd/>
              </a:ln>
              <a:effectLst/>
            </p:spPr>
            <p:txBody>
              <a:bodyPr wrap="square" lIns="36000" tIns="36000" rIns="36000" bIns="36000" rtlCol="0" anchor="ctr"/>
              <a:lstStyle/>
              <a:p>
                <a:pPr marL="182563" marR="0" lvl="0" indent="-182563" algn="ctr" defTabSz="914400" eaLnBrk="1" fontAlgn="auto" latinLnBrk="0" hangingPunct="1">
                  <a:lnSpc>
                    <a:spcPct val="106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Wingdings" panose="05000000000000000000" pitchFamily="2" charset="2"/>
                  <a:buChar char="§"/>
                  <a:tabLst/>
                  <a:defRPr/>
                </a:pPr>
                <a:endParaRPr kumimoji="0" lang="it-IT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0F3250"/>
                  </a:solidFill>
                  <a:effectLst/>
                  <a:uLnTx/>
                  <a:uFillTx/>
                </a:endParaRPr>
              </a:p>
            </p:txBody>
          </p:sp>
          <p:grpSp>
            <p:nvGrpSpPr>
              <p:cNvPr id="38" name="Group 37">
                <a:extLst>
                  <a:ext uri="{FF2B5EF4-FFF2-40B4-BE49-F238E27FC236}">
                    <a16:creationId xmlns:a16="http://schemas.microsoft.com/office/drawing/2014/main" id="{801D9625-2111-8364-6585-A41722999509}"/>
                  </a:ext>
                </a:extLst>
              </p:cNvPr>
              <p:cNvGrpSpPr>
                <a:grpSpLocks noChangeAspect="1"/>
              </p:cNvGrpSpPr>
              <p:nvPr/>
            </p:nvGrpSpPr>
            <p:grpSpPr>
              <a:xfrm>
                <a:off x="4385732" y="2174444"/>
                <a:ext cx="126733" cy="334292"/>
                <a:chOff x="5875169" y="1723101"/>
                <a:chExt cx="436472" cy="710227"/>
              </a:xfrm>
            </p:grpSpPr>
            <p:sp>
              <p:nvSpPr>
                <p:cNvPr id="39" name="Rectangle 38">
                  <a:extLst>
                    <a:ext uri="{FF2B5EF4-FFF2-40B4-BE49-F238E27FC236}">
                      <a16:creationId xmlns:a16="http://schemas.microsoft.com/office/drawing/2014/main" id="{DB665442-DCD3-8AAF-7D6D-FA4B38EA1887}"/>
                    </a:ext>
                  </a:extLst>
                </p:cNvPr>
                <p:cNvSpPr/>
                <p:nvPr/>
              </p:nvSpPr>
              <p:spPr>
                <a:xfrm>
                  <a:off x="5948682" y="1726216"/>
                  <a:ext cx="219488" cy="707112"/>
                </a:xfrm>
                <a:prstGeom prst="rect">
                  <a:avLst/>
                </a:prstGeom>
                <a:solidFill>
                  <a:srgbClr val="FFFFFF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ot="0" spcFirstLastPara="0" vertOverflow="overflow" horzOverflow="overflow" vert="horz" wrap="square" lIns="62191" tIns="31095" rIns="62191" bIns="31095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it-IT" sz="1224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F3250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40" name="Freeform 127">
                  <a:extLst>
                    <a:ext uri="{FF2B5EF4-FFF2-40B4-BE49-F238E27FC236}">
                      <a16:creationId xmlns:a16="http://schemas.microsoft.com/office/drawing/2014/main" id="{4C29AC39-4F81-EF29-4D54-4CAF789D1E9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flipH="1">
                  <a:off x="5875169" y="1723101"/>
                  <a:ext cx="277125" cy="657463"/>
                </a:xfrm>
                <a:custGeom>
                  <a:avLst/>
                  <a:gdLst>
                    <a:gd name="T0" fmla="*/ 25 w 40"/>
                    <a:gd name="T1" fmla="*/ 69 h 76"/>
                    <a:gd name="T2" fmla="*/ 26 w 40"/>
                    <a:gd name="T3" fmla="*/ 70 h 76"/>
                    <a:gd name="T4" fmla="*/ 27 w 40"/>
                    <a:gd name="T5" fmla="*/ 71 h 76"/>
                    <a:gd name="T6" fmla="*/ 36 w 40"/>
                    <a:gd name="T7" fmla="*/ 61 h 76"/>
                    <a:gd name="T8" fmla="*/ 11 w 40"/>
                    <a:gd name="T9" fmla="*/ 38 h 76"/>
                    <a:gd name="T10" fmla="*/ 36 w 40"/>
                    <a:gd name="T11" fmla="*/ 14 h 76"/>
                    <a:gd name="T12" fmla="*/ 37 w 40"/>
                    <a:gd name="T13" fmla="*/ 13 h 76"/>
                    <a:gd name="T14" fmla="*/ 26 w 40"/>
                    <a:gd name="T15" fmla="*/ 5 h 76"/>
                    <a:gd name="T16" fmla="*/ 25 w 40"/>
                    <a:gd name="T17" fmla="*/ 7 h 76"/>
                    <a:gd name="T18" fmla="*/ 25 w 40"/>
                    <a:gd name="T19" fmla="*/ 14 h 76"/>
                    <a:gd name="T20" fmla="*/ 23 w 40"/>
                    <a:gd name="T21" fmla="*/ 17 h 76"/>
                    <a:gd name="T22" fmla="*/ 0 w 40"/>
                    <a:gd name="T23" fmla="*/ 38 h 76"/>
                    <a:gd name="T24" fmla="*/ 23 w 40"/>
                    <a:gd name="T25" fmla="*/ 59 h 76"/>
                    <a:gd name="T26" fmla="*/ 25 w 40"/>
                    <a:gd name="T27" fmla="*/ 69 h 7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40" h="76">
                      <a:moveTo>
                        <a:pt x="25" y="69"/>
                      </a:moveTo>
                      <a:cubicBezTo>
                        <a:pt x="26" y="70"/>
                        <a:pt x="26" y="70"/>
                        <a:pt x="26" y="70"/>
                      </a:cubicBezTo>
                      <a:cubicBezTo>
                        <a:pt x="26" y="70"/>
                        <a:pt x="27" y="71"/>
                        <a:pt x="27" y="71"/>
                      </a:cubicBezTo>
                      <a:cubicBezTo>
                        <a:pt x="36" y="76"/>
                        <a:pt x="40" y="68"/>
                        <a:pt x="36" y="61"/>
                      </a:cubicBezTo>
                      <a:cubicBezTo>
                        <a:pt x="11" y="38"/>
                        <a:pt x="11" y="38"/>
                        <a:pt x="11" y="38"/>
                      </a:cubicBezTo>
                      <a:cubicBezTo>
                        <a:pt x="36" y="14"/>
                        <a:pt x="36" y="14"/>
                        <a:pt x="36" y="14"/>
                      </a:cubicBezTo>
                      <a:cubicBezTo>
                        <a:pt x="36" y="14"/>
                        <a:pt x="37" y="13"/>
                        <a:pt x="37" y="13"/>
                      </a:cubicBezTo>
                      <a:cubicBezTo>
                        <a:pt x="40" y="6"/>
                        <a:pt x="33" y="0"/>
                        <a:pt x="26" y="5"/>
                      </a:cubicBezTo>
                      <a:cubicBezTo>
                        <a:pt x="25" y="7"/>
                        <a:pt x="25" y="7"/>
                        <a:pt x="25" y="7"/>
                      </a:cubicBezTo>
                      <a:cubicBezTo>
                        <a:pt x="26" y="9"/>
                        <a:pt x="26" y="12"/>
                        <a:pt x="25" y="14"/>
                      </a:cubicBezTo>
                      <a:cubicBezTo>
                        <a:pt x="24" y="15"/>
                        <a:pt x="23" y="17"/>
                        <a:pt x="23" y="17"/>
                      </a:cubicBezTo>
                      <a:cubicBezTo>
                        <a:pt x="0" y="38"/>
                        <a:pt x="0" y="38"/>
                        <a:pt x="0" y="38"/>
                      </a:cubicBezTo>
                      <a:cubicBezTo>
                        <a:pt x="23" y="59"/>
                        <a:pt x="23" y="59"/>
                        <a:pt x="23" y="59"/>
                      </a:cubicBezTo>
                      <a:cubicBezTo>
                        <a:pt x="25" y="62"/>
                        <a:pt x="25" y="65"/>
                        <a:pt x="25" y="69"/>
                      </a:cubicBezTo>
                      <a:close/>
                    </a:path>
                  </a:pathLst>
                </a:custGeom>
                <a:solidFill>
                  <a:srgbClr val="35547A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62191" tIns="31095" rIns="62191" bIns="31095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it-IT" sz="1224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F325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41" name="Freeform 128">
                  <a:extLst>
                    <a:ext uri="{FF2B5EF4-FFF2-40B4-BE49-F238E27FC236}">
                      <a16:creationId xmlns:a16="http://schemas.microsoft.com/office/drawing/2014/main" id="{98A7E68F-E49B-EA5C-2309-BB49BDF376D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flipH="1">
                  <a:off x="5986019" y="1723101"/>
                  <a:ext cx="325622" cy="657463"/>
                </a:xfrm>
                <a:custGeom>
                  <a:avLst/>
                  <a:gdLst>
                    <a:gd name="T0" fmla="*/ 0 w 47"/>
                    <a:gd name="T1" fmla="*/ 38 h 76"/>
                    <a:gd name="T2" fmla="*/ 3 w 47"/>
                    <a:gd name="T3" fmla="*/ 43 h 76"/>
                    <a:gd name="T4" fmla="*/ 33 w 47"/>
                    <a:gd name="T5" fmla="*/ 70 h 76"/>
                    <a:gd name="T6" fmla="*/ 34 w 47"/>
                    <a:gd name="T7" fmla="*/ 71 h 76"/>
                    <a:gd name="T8" fmla="*/ 43 w 47"/>
                    <a:gd name="T9" fmla="*/ 61 h 76"/>
                    <a:gd name="T10" fmla="*/ 17 w 47"/>
                    <a:gd name="T11" fmla="*/ 38 h 76"/>
                    <a:gd name="T12" fmla="*/ 43 w 47"/>
                    <a:gd name="T13" fmla="*/ 14 h 76"/>
                    <a:gd name="T14" fmla="*/ 44 w 47"/>
                    <a:gd name="T15" fmla="*/ 13 h 76"/>
                    <a:gd name="T16" fmla="*/ 33 w 47"/>
                    <a:gd name="T17" fmla="*/ 5 h 76"/>
                    <a:gd name="T18" fmla="*/ 3 w 47"/>
                    <a:gd name="T19" fmla="*/ 32 h 76"/>
                    <a:gd name="T20" fmla="*/ 0 w 47"/>
                    <a:gd name="T21" fmla="*/ 38 h 7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47" h="76">
                      <a:moveTo>
                        <a:pt x="0" y="38"/>
                      </a:moveTo>
                      <a:cubicBezTo>
                        <a:pt x="0" y="40"/>
                        <a:pt x="2" y="42"/>
                        <a:pt x="3" y="43"/>
                      </a:cubicBezTo>
                      <a:cubicBezTo>
                        <a:pt x="33" y="70"/>
                        <a:pt x="33" y="70"/>
                        <a:pt x="33" y="70"/>
                      </a:cubicBezTo>
                      <a:cubicBezTo>
                        <a:pt x="33" y="70"/>
                        <a:pt x="33" y="71"/>
                        <a:pt x="34" y="71"/>
                      </a:cubicBezTo>
                      <a:cubicBezTo>
                        <a:pt x="42" y="76"/>
                        <a:pt x="47" y="68"/>
                        <a:pt x="43" y="61"/>
                      </a:cubicBezTo>
                      <a:cubicBezTo>
                        <a:pt x="17" y="38"/>
                        <a:pt x="17" y="38"/>
                        <a:pt x="17" y="38"/>
                      </a:cubicBezTo>
                      <a:cubicBezTo>
                        <a:pt x="43" y="14"/>
                        <a:pt x="43" y="14"/>
                        <a:pt x="43" y="14"/>
                      </a:cubicBezTo>
                      <a:cubicBezTo>
                        <a:pt x="43" y="14"/>
                        <a:pt x="44" y="13"/>
                        <a:pt x="44" y="13"/>
                      </a:cubicBezTo>
                      <a:cubicBezTo>
                        <a:pt x="47" y="6"/>
                        <a:pt x="40" y="0"/>
                        <a:pt x="33" y="5"/>
                      </a:cubicBezTo>
                      <a:cubicBezTo>
                        <a:pt x="3" y="32"/>
                        <a:pt x="3" y="32"/>
                        <a:pt x="3" y="32"/>
                      </a:cubicBezTo>
                      <a:cubicBezTo>
                        <a:pt x="1" y="34"/>
                        <a:pt x="0" y="36"/>
                        <a:pt x="0" y="38"/>
                      </a:cubicBezTo>
                      <a:close/>
                    </a:path>
                  </a:pathLst>
                </a:custGeom>
                <a:solidFill>
                  <a:srgbClr val="386DB2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62191" tIns="31095" rIns="62191" bIns="31095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it-IT" sz="1224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F3250"/>
                    </a:solidFill>
                    <a:effectLst/>
                    <a:uLnTx/>
                    <a:uFillTx/>
                  </a:endParaRPr>
                </a:p>
              </p:txBody>
            </p:sp>
          </p:grpSp>
        </p:grpSp>
      </p:grpSp>
      <p:grpSp>
        <p:nvGrpSpPr>
          <p:cNvPr id="56" name="Group 55">
            <a:extLst>
              <a:ext uri="{FF2B5EF4-FFF2-40B4-BE49-F238E27FC236}">
                <a16:creationId xmlns:a16="http://schemas.microsoft.com/office/drawing/2014/main" id="{382AE2CB-306A-4E83-D72B-1E2DAC5A95E5}"/>
              </a:ext>
            </a:extLst>
          </p:cNvPr>
          <p:cNvGrpSpPr/>
          <p:nvPr/>
        </p:nvGrpSpPr>
        <p:grpSpPr>
          <a:xfrm>
            <a:off x="4772340" y="781617"/>
            <a:ext cx="3900528" cy="819335"/>
            <a:chOff x="4572000" y="781617"/>
            <a:chExt cx="3900528" cy="819335"/>
          </a:xfrm>
        </p:grpSpPr>
        <p:sp>
          <p:nvSpPr>
            <p:cNvPr id="44" name="Rectangle 43">
              <a:extLst>
                <a:ext uri="{FF2B5EF4-FFF2-40B4-BE49-F238E27FC236}">
                  <a16:creationId xmlns:a16="http://schemas.microsoft.com/office/drawing/2014/main" id="{D440C43C-8FE6-D7CC-B225-5811F8209107}"/>
                </a:ext>
              </a:extLst>
            </p:cNvPr>
            <p:cNvSpPr/>
            <p:nvPr/>
          </p:nvSpPr>
          <p:spPr>
            <a:xfrm>
              <a:off x="5138743" y="1015396"/>
              <a:ext cx="3333785" cy="351776"/>
            </a:xfrm>
            <a:prstGeom prst="rect">
              <a:avLst/>
            </a:prstGeom>
            <a:solidFill>
              <a:schemeClr val="tx2"/>
            </a:solidFill>
            <a:ln w="9525">
              <a:solidFill>
                <a:schemeClr val="accent2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>
                  <a:solidFill>
                    <a:schemeClr val="bg1"/>
                  </a:solidFill>
                </a:rPr>
                <a:t>Analysis results</a:t>
              </a:r>
              <a:endParaRPr lang="it-IT" b="1" dirty="0">
                <a:solidFill>
                  <a:schemeClr val="bg1"/>
                </a:solidFill>
              </a:endParaRPr>
            </a:p>
          </p:txBody>
        </p:sp>
        <p:grpSp>
          <p:nvGrpSpPr>
            <p:cNvPr id="47" name="Group 46">
              <a:extLst>
                <a:ext uri="{FF2B5EF4-FFF2-40B4-BE49-F238E27FC236}">
                  <a16:creationId xmlns:a16="http://schemas.microsoft.com/office/drawing/2014/main" id="{E4B0E179-CBE8-7242-AFD9-67EBA3567079}"/>
                </a:ext>
              </a:extLst>
            </p:cNvPr>
            <p:cNvGrpSpPr/>
            <p:nvPr/>
          </p:nvGrpSpPr>
          <p:grpSpPr>
            <a:xfrm>
              <a:off x="4572000" y="781617"/>
              <a:ext cx="780695" cy="819335"/>
              <a:chOff x="4593725" y="564762"/>
              <a:chExt cx="858765" cy="901269"/>
            </a:xfrm>
          </p:grpSpPr>
          <p:sp>
            <p:nvSpPr>
              <p:cNvPr id="45" name="Freeform 14">
                <a:extLst>
                  <a:ext uri="{FF2B5EF4-FFF2-40B4-BE49-F238E27FC236}">
                    <a16:creationId xmlns:a16="http://schemas.microsoft.com/office/drawing/2014/main" id="{07D3FF15-5DAA-EDA4-AADE-5D46621D7D67}"/>
                  </a:ext>
                </a:extLst>
              </p:cNvPr>
              <p:cNvSpPr>
                <a:spLocks noChangeAspect="1" noEditPoints="1"/>
              </p:cNvSpPr>
              <p:nvPr/>
            </p:nvSpPr>
            <p:spPr bwMode="auto">
              <a:xfrm>
                <a:off x="4593725" y="564762"/>
                <a:ext cx="858765" cy="901269"/>
              </a:xfrm>
              <a:custGeom>
                <a:avLst/>
                <a:gdLst>
                  <a:gd name="T0" fmla="*/ 314 w 334"/>
                  <a:gd name="T1" fmla="*/ 106 h 350"/>
                  <a:gd name="T2" fmla="*/ 314 w 334"/>
                  <a:gd name="T3" fmla="*/ 105 h 350"/>
                  <a:gd name="T4" fmla="*/ 247 w 334"/>
                  <a:gd name="T5" fmla="*/ 24 h 350"/>
                  <a:gd name="T6" fmla="*/ 246 w 334"/>
                  <a:gd name="T7" fmla="*/ 24 h 350"/>
                  <a:gd name="T8" fmla="*/ 236 w 334"/>
                  <a:gd name="T9" fmla="*/ 31 h 350"/>
                  <a:gd name="T10" fmla="*/ 253 w 334"/>
                  <a:gd name="T11" fmla="*/ 61 h 350"/>
                  <a:gd name="T12" fmla="*/ 206 w 334"/>
                  <a:gd name="T13" fmla="*/ 6 h 350"/>
                  <a:gd name="T14" fmla="*/ 189 w 334"/>
                  <a:gd name="T15" fmla="*/ 20 h 350"/>
                  <a:gd name="T16" fmla="*/ 159 w 334"/>
                  <a:gd name="T17" fmla="*/ 3 h 350"/>
                  <a:gd name="T18" fmla="*/ 150 w 334"/>
                  <a:gd name="T19" fmla="*/ 11 h 350"/>
                  <a:gd name="T20" fmla="*/ 141 w 334"/>
                  <a:gd name="T21" fmla="*/ 0 h 350"/>
                  <a:gd name="T22" fmla="*/ 115 w 334"/>
                  <a:gd name="T23" fmla="*/ 14 h 350"/>
                  <a:gd name="T24" fmla="*/ 95 w 334"/>
                  <a:gd name="T25" fmla="*/ 27 h 350"/>
                  <a:gd name="T26" fmla="*/ 78 w 334"/>
                  <a:gd name="T27" fmla="*/ 27 h 350"/>
                  <a:gd name="T28" fmla="*/ 77 w 334"/>
                  <a:gd name="T29" fmla="*/ 27 h 350"/>
                  <a:gd name="T30" fmla="*/ 61 w 334"/>
                  <a:gd name="T31" fmla="*/ 48 h 350"/>
                  <a:gd name="T32" fmla="*/ 55 w 334"/>
                  <a:gd name="T33" fmla="*/ 55 h 350"/>
                  <a:gd name="T34" fmla="*/ 64 w 334"/>
                  <a:gd name="T35" fmla="*/ 73 h 350"/>
                  <a:gd name="T36" fmla="*/ 31 w 334"/>
                  <a:gd name="T37" fmla="*/ 65 h 350"/>
                  <a:gd name="T38" fmla="*/ 50 w 334"/>
                  <a:gd name="T39" fmla="*/ 96 h 350"/>
                  <a:gd name="T40" fmla="*/ 30 w 334"/>
                  <a:gd name="T41" fmla="*/ 75 h 350"/>
                  <a:gd name="T42" fmla="*/ 14 w 334"/>
                  <a:gd name="T43" fmla="*/ 89 h 350"/>
                  <a:gd name="T44" fmla="*/ 27 w 334"/>
                  <a:gd name="T45" fmla="*/ 109 h 350"/>
                  <a:gd name="T46" fmla="*/ 3 w 334"/>
                  <a:gd name="T47" fmla="*/ 127 h 350"/>
                  <a:gd name="T48" fmla="*/ 14 w 334"/>
                  <a:gd name="T49" fmla="*/ 155 h 350"/>
                  <a:gd name="T50" fmla="*/ 0 w 334"/>
                  <a:gd name="T51" fmla="*/ 168 h 350"/>
                  <a:gd name="T52" fmla="*/ 34 w 334"/>
                  <a:gd name="T53" fmla="*/ 214 h 350"/>
                  <a:gd name="T54" fmla="*/ 0 w 334"/>
                  <a:gd name="T55" fmla="*/ 202 h 350"/>
                  <a:gd name="T56" fmla="*/ 33 w 334"/>
                  <a:gd name="T57" fmla="*/ 257 h 350"/>
                  <a:gd name="T58" fmla="*/ 98 w 334"/>
                  <a:gd name="T59" fmla="*/ 333 h 350"/>
                  <a:gd name="T60" fmla="*/ 104 w 334"/>
                  <a:gd name="T61" fmla="*/ 323 h 350"/>
                  <a:gd name="T62" fmla="*/ 155 w 334"/>
                  <a:gd name="T63" fmla="*/ 350 h 350"/>
                  <a:gd name="T64" fmla="*/ 164 w 334"/>
                  <a:gd name="T65" fmla="*/ 340 h 350"/>
                  <a:gd name="T66" fmla="*/ 172 w 334"/>
                  <a:gd name="T67" fmla="*/ 330 h 350"/>
                  <a:gd name="T68" fmla="*/ 200 w 334"/>
                  <a:gd name="T69" fmla="*/ 340 h 350"/>
                  <a:gd name="T70" fmla="*/ 230 w 334"/>
                  <a:gd name="T71" fmla="*/ 333 h 350"/>
                  <a:gd name="T72" fmla="*/ 230 w 334"/>
                  <a:gd name="T73" fmla="*/ 333 h 350"/>
                  <a:gd name="T74" fmla="*/ 243 w 334"/>
                  <a:gd name="T75" fmla="*/ 312 h 350"/>
                  <a:gd name="T76" fmla="*/ 274 w 334"/>
                  <a:gd name="T77" fmla="*/ 309 h 350"/>
                  <a:gd name="T78" fmla="*/ 284 w 334"/>
                  <a:gd name="T79" fmla="*/ 292 h 350"/>
                  <a:gd name="T80" fmla="*/ 277 w 334"/>
                  <a:gd name="T81" fmla="*/ 278 h 350"/>
                  <a:gd name="T82" fmla="*/ 277 w 334"/>
                  <a:gd name="T83" fmla="*/ 278 h 350"/>
                  <a:gd name="T84" fmla="*/ 294 w 334"/>
                  <a:gd name="T85" fmla="*/ 275 h 350"/>
                  <a:gd name="T86" fmla="*/ 307 w 334"/>
                  <a:gd name="T87" fmla="*/ 254 h 350"/>
                  <a:gd name="T88" fmla="*/ 291 w 334"/>
                  <a:gd name="T89" fmla="*/ 227 h 350"/>
                  <a:gd name="T90" fmla="*/ 294 w 334"/>
                  <a:gd name="T91" fmla="*/ 219 h 350"/>
                  <a:gd name="T92" fmla="*/ 318 w 334"/>
                  <a:gd name="T93" fmla="*/ 226 h 350"/>
                  <a:gd name="T94" fmla="*/ 331 w 334"/>
                  <a:gd name="T95" fmla="*/ 209 h 350"/>
                  <a:gd name="T96" fmla="*/ 250 w 334"/>
                  <a:gd name="T97" fmla="*/ 139 h 350"/>
                  <a:gd name="T98" fmla="*/ 324 w 334"/>
                  <a:gd name="T99" fmla="*/ 184 h 350"/>
                  <a:gd name="T100" fmla="*/ 331 w 334"/>
                  <a:gd name="T101" fmla="*/ 171 h 350"/>
                  <a:gd name="T102" fmla="*/ 324 w 334"/>
                  <a:gd name="T103" fmla="*/ 161 h 350"/>
                  <a:gd name="T104" fmla="*/ 334 w 334"/>
                  <a:gd name="T105" fmla="*/ 148 h 350"/>
                  <a:gd name="T106" fmla="*/ 62 w 334"/>
                  <a:gd name="T107" fmla="*/ 47 h 3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334" h="350">
                    <a:moveTo>
                      <a:pt x="334" y="147"/>
                    </a:moveTo>
                    <a:cubicBezTo>
                      <a:pt x="334" y="147"/>
                      <a:pt x="334" y="147"/>
                      <a:pt x="334" y="147"/>
                    </a:cubicBezTo>
                    <a:cubicBezTo>
                      <a:pt x="334" y="147"/>
                      <a:pt x="334" y="147"/>
                      <a:pt x="334" y="147"/>
                    </a:cubicBezTo>
                    <a:cubicBezTo>
                      <a:pt x="334" y="147"/>
                      <a:pt x="331" y="145"/>
                      <a:pt x="326" y="141"/>
                    </a:cubicBezTo>
                    <a:cubicBezTo>
                      <a:pt x="321" y="136"/>
                      <a:pt x="314" y="131"/>
                      <a:pt x="305" y="123"/>
                    </a:cubicBezTo>
                    <a:cubicBezTo>
                      <a:pt x="315" y="106"/>
                      <a:pt x="315" y="106"/>
                      <a:pt x="315" y="106"/>
                    </a:cubicBezTo>
                    <a:cubicBezTo>
                      <a:pt x="315" y="106"/>
                      <a:pt x="314" y="106"/>
                      <a:pt x="314" y="106"/>
                    </a:cubicBezTo>
                    <a:cubicBezTo>
                      <a:pt x="314" y="106"/>
                      <a:pt x="314" y="106"/>
                      <a:pt x="314" y="106"/>
                    </a:cubicBezTo>
                    <a:cubicBezTo>
                      <a:pt x="314" y="106"/>
                      <a:pt x="315" y="106"/>
                      <a:pt x="315" y="106"/>
                    </a:cubicBezTo>
                    <a:cubicBezTo>
                      <a:pt x="315" y="106"/>
                      <a:pt x="315" y="106"/>
                      <a:pt x="314" y="106"/>
                    </a:cubicBezTo>
                    <a:cubicBezTo>
                      <a:pt x="315" y="106"/>
                      <a:pt x="315" y="106"/>
                      <a:pt x="315" y="106"/>
                    </a:cubicBezTo>
                    <a:cubicBezTo>
                      <a:pt x="315" y="106"/>
                      <a:pt x="315" y="106"/>
                      <a:pt x="315" y="106"/>
                    </a:cubicBezTo>
                    <a:cubicBezTo>
                      <a:pt x="315" y="106"/>
                      <a:pt x="315" y="106"/>
                      <a:pt x="315" y="106"/>
                    </a:cubicBezTo>
                    <a:cubicBezTo>
                      <a:pt x="315" y="106"/>
                      <a:pt x="314" y="106"/>
                      <a:pt x="314" y="105"/>
                    </a:cubicBezTo>
                    <a:cubicBezTo>
                      <a:pt x="314" y="105"/>
                      <a:pt x="313" y="105"/>
                      <a:pt x="313" y="104"/>
                    </a:cubicBezTo>
                    <a:cubicBezTo>
                      <a:pt x="310" y="102"/>
                      <a:pt x="305" y="97"/>
                      <a:pt x="298" y="89"/>
                    </a:cubicBezTo>
                    <a:cubicBezTo>
                      <a:pt x="306" y="81"/>
                      <a:pt x="307" y="79"/>
                      <a:pt x="307" y="79"/>
                    </a:cubicBezTo>
                    <a:cubicBezTo>
                      <a:pt x="307" y="79"/>
                      <a:pt x="307" y="79"/>
                      <a:pt x="307" y="79"/>
                    </a:cubicBezTo>
                    <a:cubicBezTo>
                      <a:pt x="307" y="79"/>
                      <a:pt x="297" y="72"/>
                      <a:pt x="277" y="55"/>
                    </a:cubicBezTo>
                    <a:cubicBezTo>
                      <a:pt x="264" y="42"/>
                      <a:pt x="248" y="25"/>
                      <a:pt x="247" y="24"/>
                    </a:cubicBezTo>
                    <a:cubicBezTo>
                      <a:pt x="247" y="24"/>
                      <a:pt x="247" y="24"/>
                      <a:pt x="247" y="24"/>
                    </a:cubicBezTo>
                    <a:cubicBezTo>
                      <a:pt x="247" y="24"/>
                      <a:pt x="247" y="24"/>
                      <a:pt x="247" y="24"/>
                    </a:cubicBezTo>
                    <a:cubicBezTo>
                      <a:pt x="247" y="24"/>
                      <a:pt x="247" y="24"/>
                      <a:pt x="247" y="24"/>
                    </a:cubicBezTo>
                    <a:cubicBezTo>
                      <a:pt x="247" y="24"/>
                      <a:pt x="246" y="24"/>
                      <a:pt x="246" y="24"/>
                    </a:cubicBezTo>
                    <a:cubicBezTo>
                      <a:pt x="246" y="24"/>
                      <a:pt x="246" y="24"/>
                      <a:pt x="246" y="24"/>
                    </a:cubicBezTo>
                    <a:cubicBezTo>
                      <a:pt x="246" y="24"/>
                      <a:pt x="246" y="24"/>
                      <a:pt x="246" y="24"/>
                    </a:cubicBezTo>
                    <a:cubicBezTo>
                      <a:pt x="246" y="24"/>
                      <a:pt x="246" y="24"/>
                      <a:pt x="246" y="24"/>
                    </a:cubicBezTo>
                    <a:cubicBezTo>
                      <a:pt x="246" y="24"/>
                      <a:pt x="246" y="24"/>
                      <a:pt x="246" y="24"/>
                    </a:cubicBezTo>
                    <a:cubicBezTo>
                      <a:pt x="245" y="25"/>
                      <a:pt x="244" y="26"/>
                      <a:pt x="243" y="26"/>
                    </a:cubicBezTo>
                    <a:cubicBezTo>
                      <a:pt x="242" y="27"/>
                      <a:pt x="241" y="27"/>
                      <a:pt x="241" y="28"/>
                    </a:cubicBezTo>
                    <a:cubicBezTo>
                      <a:pt x="237" y="30"/>
                      <a:pt x="237" y="31"/>
                      <a:pt x="236" y="31"/>
                    </a:cubicBezTo>
                    <a:cubicBezTo>
                      <a:pt x="236" y="31"/>
                      <a:pt x="236" y="31"/>
                      <a:pt x="236" y="31"/>
                    </a:cubicBezTo>
                    <a:cubicBezTo>
                      <a:pt x="236" y="31"/>
                      <a:pt x="236" y="31"/>
                      <a:pt x="236" y="31"/>
                    </a:cubicBezTo>
                    <a:cubicBezTo>
                      <a:pt x="236" y="31"/>
                      <a:pt x="236" y="31"/>
                      <a:pt x="236" y="31"/>
                    </a:cubicBezTo>
                    <a:cubicBezTo>
                      <a:pt x="236" y="31"/>
                      <a:pt x="236" y="31"/>
                      <a:pt x="236" y="31"/>
                    </a:cubicBezTo>
                    <a:cubicBezTo>
                      <a:pt x="236" y="31"/>
                      <a:pt x="236" y="31"/>
                      <a:pt x="236" y="31"/>
                    </a:cubicBezTo>
                    <a:cubicBezTo>
                      <a:pt x="236" y="31"/>
                      <a:pt x="236" y="31"/>
                      <a:pt x="236" y="31"/>
                    </a:cubicBezTo>
                    <a:cubicBezTo>
                      <a:pt x="236" y="31"/>
                      <a:pt x="236" y="31"/>
                      <a:pt x="236" y="31"/>
                    </a:cubicBezTo>
                    <a:cubicBezTo>
                      <a:pt x="236" y="31"/>
                      <a:pt x="236" y="31"/>
                      <a:pt x="236" y="31"/>
                    </a:cubicBezTo>
                    <a:cubicBezTo>
                      <a:pt x="236" y="31"/>
                      <a:pt x="236" y="31"/>
                      <a:pt x="236" y="31"/>
                    </a:cubicBezTo>
                    <a:cubicBezTo>
                      <a:pt x="237" y="32"/>
                      <a:pt x="241" y="42"/>
                      <a:pt x="251" y="58"/>
                    </a:cubicBezTo>
                    <a:cubicBezTo>
                      <a:pt x="252" y="59"/>
                      <a:pt x="252" y="60"/>
                      <a:pt x="253" y="61"/>
                    </a:cubicBezTo>
                    <a:cubicBezTo>
                      <a:pt x="251" y="59"/>
                      <a:pt x="250" y="58"/>
                      <a:pt x="248" y="56"/>
                    </a:cubicBezTo>
                    <a:cubicBezTo>
                      <a:pt x="218" y="26"/>
                      <a:pt x="207" y="8"/>
                      <a:pt x="206" y="6"/>
                    </a:cubicBezTo>
                    <a:cubicBezTo>
                      <a:pt x="206" y="6"/>
                      <a:pt x="206" y="6"/>
                      <a:pt x="206" y="6"/>
                    </a:cubicBezTo>
                    <a:cubicBezTo>
                      <a:pt x="206" y="6"/>
                      <a:pt x="206" y="6"/>
                      <a:pt x="206" y="6"/>
                    </a:cubicBezTo>
                    <a:cubicBezTo>
                      <a:pt x="206" y="6"/>
                      <a:pt x="206" y="6"/>
                      <a:pt x="206" y="6"/>
                    </a:cubicBezTo>
                    <a:cubicBezTo>
                      <a:pt x="206" y="6"/>
                      <a:pt x="206" y="6"/>
                      <a:pt x="206" y="6"/>
                    </a:cubicBezTo>
                    <a:cubicBezTo>
                      <a:pt x="206" y="6"/>
                      <a:pt x="206" y="6"/>
                      <a:pt x="206" y="6"/>
                    </a:cubicBezTo>
                    <a:cubicBezTo>
                      <a:pt x="206" y="6"/>
                      <a:pt x="206" y="6"/>
                      <a:pt x="206" y="6"/>
                    </a:cubicBezTo>
                    <a:cubicBezTo>
                      <a:pt x="203" y="9"/>
                      <a:pt x="200" y="11"/>
                      <a:pt x="198" y="13"/>
                    </a:cubicBezTo>
                    <a:cubicBezTo>
                      <a:pt x="189" y="20"/>
                      <a:pt x="189" y="20"/>
                      <a:pt x="189" y="20"/>
                    </a:cubicBezTo>
                    <a:cubicBezTo>
                      <a:pt x="189" y="20"/>
                      <a:pt x="189" y="20"/>
                      <a:pt x="189" y="20"/>
                    </a:cubicBezTo>
                    <a:cubicBezTo>
                      <a:pt x="189" y="20"/>
                      <a:pt x="189" y="20"/>
                      <a:pt x="189" y="20"/>
                    </a:cubicBezTo>
                    <a:cubicBezTo>
                      <a:pt x="189" y="20"/>
                      <a:pt x="189" y="20"/>
                      <a:pt x="189" y="20"/>
                    </a:cubicBezTo>
                    <a:cubicBezTo>
                      <a:pt x="189" y="20"/>
                      <a:pt x="189" y="20"/>
                      <a:pt x="189" y="20"/>
                    </a:cubicBezTo>
                    <a:cubicBezTo>
                      <a:pt x="189" y="20"/>
                      <a:pt x="189" y="20"/>
                      <a:pt x="189" y="20"/>
                    </a:cubicBezTo>
                    <a:cubicBezTo>
                      <a:pt x="189" y="20"/>
                      <a:pt x="189" y="20"/>
                      <a:pt x="189" y="20"/>
                    </a:cubicBezTo>
                    <a:cubicBezTo>
                      <a:pt x="189" y="20"/>
                      <a:pt x="189" y="20"/>
                      <a:pt x="189" y="20"/>
                    </a:cubicBezTo>
                    <a:cubicBezTo>
                      <a:pt x="189" y="20"/>
                      <a:pt x="192" y="29"/>
                      <a:pt x="201" y="44"/>
                    </a:cubicBezTo>
                    <a:cubicBezTo>
                      <a:pt x="193" y="38"/>
                      <a:pt x="187" y="32"/>
                      <a:pt x="182" y="26"/>
                    </a:cubicBezTo>
                    <a:cubicBezTo>
                      <a:pt x="170" y="14"/>
                      <a:pt x="162" y="6"/>
                      <a:pt x="159" y="4"/>
                    </a:cubicBezTo>
                    <a:cubicBezTo>
                      <a:pt x="159" y="3"/>
                      <a:pt x="159" y="3"/>
                      <a:pt x="159" y="3"/>
                    </a:cubicBezTo>
                    <a:cubicBezTo>
                      <a:pt x="159" y="3"/>
                      <a:pt x="159" y="3"/>
                      <a:pt x="159" y="3"/>
                    </a:cubicBezTo>
                    <a:cubicBezTo>
                      <a:pt x="159" y="3"/>
                      <a:pt x="159" y="3"/>
                      <a:pt x="159" y="3"/>
                    </a:cubicBezTo>
                    <a:cubicBezTo>
                      <a:pt x="159" y="3"/>
                      <a:pt x="159" y="3"/>
                      <a:pt x="159" y="3"/>
                    </a:cubicBezTo>
                    <a:cubicBezTo>
                      <a:pt x="159" y="3"/>
                      <a:pt x="159" y="3"/>
                      <a:pt x="159" y="3"/>
                    </a:cubicBezTo>
                    <a:cubicBezTo>
                      <a:pt x="159" y="3"/>
                      <a:pt x="159" y="3"/>
                      <a:pt x="159" y="3"/>
                    </a:cubicBezTo>
                    <a:cubicBezTo>
                      <a:pt x="159" y="3"/>
                      <a:pt x="159" y="3"/>
                      <a:pt x="159" y="3"/>
                    </a:cubicBezTo>
                    <a:cubicBezTo>
                      <a:pt x="155" y="7"/>
                      <a:pt x="152" y="9"/>
                      <a:pt x="150" y="11"/>
                    </a:cubicBezTo>
                    <a:cubicBezTo>
                      <a:pt x="147" y="8"/>
                      <a:pt x="145" y="5"/>
                      <a:pt x="144" y="3"/>
                    </a:cubicBezTo>
                    <a:cubicBezTo>
                      <a:pt x="143" y="1"/>
                      <a:pt x="142" y="0"/>
                      <a:pt x="142" y="0"/>
                    </a:cubicBezTo>
                    <a:cubicBezTo>
                      <a:pt x="142" y="0"/>
                      <a:pt x="142" y="0"/>
                      <a:pt x="142" y="1"/>
                    </a:cubicBezTo>
                    <a:cubicBezTo>
                      <a:pt x="142" y="1"/>
                      <a:pt x="142" y="0"/>
                      <a:pt x="142" y="0"/>
                    </a:cubicBezTo>
                    <a:cubicBezTo>
                      <a:pt x="142" y="0"/>
                      <a:pt x="142" y="0"/>
                      <a:pt x="142" y="0"/>
                    </a:cubicBezTo>
                    <a:cubicBezTo>
                      <a:pt x="142" y="0"/>
                      <a:pt x="142" y="0"/>
                      <a:pt x="142" y="0"/>
                    </a:cubicBezTo>
                    <a:cubicBezTo>
                      <a:pt x="142" y="0"/>
                      <a:pt x="141" y="0"/>
                      <a:pt x="141" y="0"/>
                    </a:cubicBezTo>
                    <a:cubicBezTo>
                      <a:pt x="126" y="15"/>
                      <a:pt x="122" y="19"/>
                      <a:pt x="121" y="20"/>
                    </a:cubicBezTo>
                    <a:cubicBezTo>
                      <a:pt x="121" y="20"/>
                      <a:pt x="120" y="20"/>
                      <a:pt x="120" y="19"/>
                    </a:cubicBezTo>
                    <a:cubicBezTo>
                      <a:pt x="117" y="15"/>
                      <a:pt x="115" y="13"/>
                      <a:pt x="115" y="13"/>
                    </a:cubicBezTo>
                    <a:cubicBezTo>
                      <a:pt x="115" y="13"/>
                      <a:pt x="115" y="13"/>
                      <a:pt x="115" y="13"/>
                    </a:cubicBezTo>
                    <a:cubicBezTo>
                      <a:pt x="115" y="13"/>
                      <a:pt x="115" y="13"/>
                      <a:pt x="115" y="13"/>
                    </a:cubicBezTo>
                    <a:cubicBezTo>
                      <a:pt x="115" y="13"/>
                      <a:pt x="115" y="13"/>
                      <a:pt x="115" y="13"/>
                    </a:cubicBezTo>
                    <a:cubicBezTo>
                      <a:pt x="115" y="13"/>
                      <a:pt x="115" y="13"/>
                      <a:pt x="115" y="14"/>
                    </a:cubicBezTo>
                    <a:cubicBezTo>
                      <a:pt x="115" y="14"/>
                      <a:pt x="115" y="13"/>
                      <a:pt x="115" y="13"/>
                    </a:cubicBezTo>
                    <a:cubicBezTo>
                      <a:pt x="115" y="13"/>
                      <a:pt x="115" y="14"/>
                      <a:pt x="115" y="14"/>
                    </a:cubicBezTo>
                    <a:cubicBezTo>
                      <a:pt x="115" y="14"/>
                      <a:pt x="115" y="14"/>
                      <a:pt x="114" y="14"/>
                    </a:cubicBezTo>
                    <a:cubicBezTo>
                      <a:pt x="95" y="27"/>
                      <a:pt x="95" y="27"/>
                      <a:pt x="95" y="27"/>
                    </a:cubicBezTo>
                    <a:cubicBezTo>
                      <a:pt x="95" y="27"/>
                      <a:pt x="95" y="27"/>
                      <a:pt x="95" y="27"/>
                    </a:cubicBezTo>
                    <a:cubicBezTo>
                      <a:pt x="95" y="27"/>
                      <a:pt x="95" y="27"/>
                      <a:pt x="95" y="27"/>
                    </a:cubicBezTo>
                    <a:cubicBezTo>
                      <a:pt x="95" y="27"/>
                      <a:pt x="95" y="27"/>
                      <a:pt x="95" y="27"/>
                    </a:cubicBezTo>
                    <a:cubicBezTo>
                      <a:pt x="95" y="27"/>
                      <a:pt x="95" y="27"/>
                      <a:pt x="95" y="27"/>
                    </a:cubicBezTo>
                    <a:cubicBezTo>
                      <a:pt x="95" y="27"/>
                      <a:pt x="95" y="27"/>
                      <a:pt x="95" y="28"/>
                    </a:cubicBezTo>
                    <a:cubicBezTo>
                      <a:pt x="95" y="27"/>
                      <a:pt x="95" y="27"/>
                      <a:pt x="95" y="27"/>
                    </a:cubicBezTo>
                    <a:cubicBezTo>
                      <a:pt x="95" y="27"/>
                      <a:pt x="100" y="41"/>
                      <a:pt x="111" y="59"/>
                    </a:cubicBezTo>
                    <a:cubicBezTo>
                      <a:pt x="112" y="61"/>
                      <a:pt x="113" y="63"/>
                      <a:pt x="114" y="65"/>
                    </a:cubicBezTo>
                    <a:cubicBezTo>
                      <a:pt x="96" y="46"/>
                      <a:pt x="84" y="34"/>
                      <a:pt x="79" y="29"/>
                    </a:cubicBezTo>
                    <a:cubicBezTo>
                      <a:pt x="78" y="28"/>
                      <a:pt x="78" y="27"/>
                      <a:pt x="78" y="27"/>
                    </a:cubicBezTo>
                    <a:cubicBezTo>
                      <a:pt x="78" y="27"/>
                      <a:pt x="78" y="27"/>
                      <a:pt x="78" y="27"/>
                    </a:cubicBezTo>
                    <a:cubicBezTo>
                      <a:pt x="78" y="27"/>
                      <a:pt x="78" y="27"/>
                      <a:pt x="78" y="27"/>
                    </a:cubicBezTo>
                    <a:cubicBezTo>
                      <a:pt x="78" y="27"/>
                      <a:pt x="78" y="27"/>
                      <a:pt x="78" y="27"/>
                    </a:cubicBezTo>
                    <a:cubicBezTo>
                      <a:pt x="78" y="27"/>
                      <a:pt x="78" y="27"/>
                      <a:pt x="78" y="27"/>
                    </a:cubicBezTo>
                    <a:cubicBezTo>
                      <a:pt x="78" y="27"/>
                      <a:pt x="77" y="27"/>
                      <a:pt x="77" y="27"/>
                    </a:cubicBezTo>
                    <a:cubicBezTo>
                      <a:pt x="77" y="27"/>
                      <a:pt x="77" y="27"/>
                      <a:pt x="77" y="27"/>
                    </a:cubicBezTo>
                    <a:cubicBezTo>
                      <a:pt x="77" y="27"/>
                      <a:pt x="77" y="27"/>
                      <a:pt x="77" y="27"/>
                    </a:cubicBezTo>
                    <a:cubicBezTo>
                      <a:pt x="57" y="41"/>
                      <a:pt x="57" y="41"/>
                      <a:pt x="57" y="41"/>
                    </a:cubicBezTo>
                    <a:cubicBezTo>
                      <a:pt x="57" y="41"/>
                      <a:pt x="57" y="41"/>
                      <a:pt x="57" y="41"/>
                    </a:cubicBezTo>
                    <a:cubicBezTo>
                      <a:pt x="57" y="41"/>
                      <a:pt x="57" y="41"/>
                      <a:pt x="57" y="41"/>
                    </a:cubicBezTo>
                    <a:cubicBezTo>
                      <a:pt x="57" y="41"/>
                      <a:pt x="57" y="41"/>
                      <a:pt x="57" y="41"/>
                    </a:cubicBezTo>
                    <a:cubicBezTo>
                      <a:pt x="57" y="41"/>
                      <a:pt x="57" y="41"/>
                      <a:pt x="57" y="41"/>
                    </a:cubicBezTo>
                    <a:cubicBezTo>
                      <a:pt x="57" y="41"/>
                      <a:pt x="58" y="42"/>
                      <a:pt x="59" y="44"/>
                    </a:cubicBezTo>
                    <a:cubicBezTo>
                      <a:pt x="60" y="45"/>
                      <a:pt x="61" y="46"/>
                      <a:pt x="61" y="48"/>
                    </a:cubicBezTo>
                    <a:cubicBezTo>
                      <a:pt x="61" y="48"/>
                      <a:pt x="61" y="48"/>
                      <a:pt x="61" y="48"/>
                    </a:cubicBezTo>
                    <a:cubicBezTo>
                      <a:pt x="61" y="48"/>
                      <a:pt x="61" y="48"/>
                      <a:pt x="61" y="48"/>
                    </a:cubicBezTo>
                    <a:cubicBezTo>
                      <a:pt x="61" y="48"/>
                      <a:pt x="61" y="48"/>
                      <a:pt x="61" y="48"/>
                    </a:cubicBezTo>
                    <a:cubicBezTo>
                      <a:pt x="61" y="48"/>
                      <a:pt x="61" y="48"/>
                      <a:pt x="61" y="48"/>
                    </a:cubicBezTo>
                    <a:cubicBezTo>
                      <a:pt x="61" y="48"/>
                      <a:pt x="61" y="48"/>
                      <a:pt x="61" y="48"/>
                    </a:cubicBezTo>
                    <a:cubicBezTo>
                      <a:pt x="54" y="54"/>
                      <a:pt x="54" y="54"/>
                      <a:pt x="54" y="54"/>
                    </a:cubicBezTo>
                    <a:cubicBezTo>
                      <a:pt x="54" y="54"/>
                      <a:pt x="55" y="55"/>
                      <a:pt x="55" y="55"/>
                    </a:cubicBezTo>
                    <a:cubicBezTo>
                      <a:pt x="54" y="55"/>
                      <a:pt x="54" y="55"/>
                      <a:pt x="54" y="55"/>
                    </a:cubicBezTo>
                    <a:cubicBezTo>
                      <a:pt x="54" y="55"/>
                      <a:pt x="54" y="55"/>
                      <a:pt x="54" y="55"/>
                    </a:cubicBezTo>
                    <a:cubicBezTo>
                      <a:pt x="54" y="55"/>
                      <a:pt x="54" y="55"/>
                      <a:pt x="54" y="55"/>
                    </a:cubicBezTo>
                    <a:cubicBezTo>
                      <a:pt x="54" y="55"/>
                      <a:pt x="54" y="55"/>
                      <a:pt x="54" y="55"/>
                    </a:cubicBezTo>
                    <a:cubicBezTo>
                      <a:pt x="54" y="55"/>
                      <a:pt x="55" y="55"/>
                      <a:pt x="55" y="56"/>
                    </a:cubicBezTo>
                    <a:cubicBezTo>
                      <a:pt x="55" y="55"/>
                      <a:pt x="54" y="55"/>
                      <a:pt x="54" y="55"/>
                    </a:cubicBezTo>
                    <a:cubicBezTo>
                      <a:pt x="54" y="55"/>
                      <a:pt x="58" y="62"/>
                      <a:pt x="64" y="73"/>
                    </a:cubicBezTo>
                    <a:cubicBezTo>
                      <a:pt x="52" y="60"/>
                      <a:pt x="44" y="55"/>
                      <a:pt x="44" y="55"/>
                    </a:cubicBezTo>
                    <a:cubicBezTo>
                      <a:pt x="44" y="55"/>
                      <a:pt x="44" y="55"/>
                      <a:pt x="44" y="55"/>
                    </a:cubicBezTo>
                    <a:cubicBezTo>
                      <a:pt x="44" y="55"/>
                      <a:pt x="44" y="55"/>
                      <a:pt x="44" y="55"/>
                    </a:cubicBezTo>
                    <a:cubicBezTo>
                      <a:pt x="44" y="55"/>
                      <a:pt x="44" y="55"/>
                      <a:pt x="44" y="55"/>
                    </a:cubicBezTo>
                    <a:cubicBezTo>
                      <a:pt x="34" y="63"/>
                      <a:pt x="32" y="65"/>
                      <a:pt x="31" y="65"/>
                    </a:cubicBezTo>
                    <a:cubicBezTo>
                      <a:pt x="31" y="65"/>
                      <a:pt x="30" y="65"/>
                      <a:pt x="30" y="65"/>
                    </a:cubicBezTo>
                    <a:cubicBezTo>
                      <a:pt x="30" y="65"/>
                      <a:pt x="31" y="65"/>
                      <a:pt x="31" y="65"/>
                    </a:cubicBezTo>
                    <a:cubicBezTo>
                      <a:pt x="30" y="65"/>
                      <a:pt x="30" y="65"/>
                      <a:pt x="30" y="65"/>
                    </a:cubicBezTo>
                    <a:cubicBezTo>
                      <a:pt x="30" y="66"/>
                      <a:pt x="30" y="66"/>
                      <a:pt x="30" y="66"/>
                    </a:cubicBezTo>
                    <a:cubicBezTo>
                      <a:pt x="30" y="66"/>
                      <a:pt x="30" y="66"/>
                      <a:pt x="30" y="66"/>
                    </a:cubicBezTo>
                    <a:cubicBezTo>
                      <a:pt x="30" y="66"/>
                      <a:pt x="30" y="66"/>
                      <a:pt x="30" y="66"/>
                    </a:cubicBezTo>
                    <a:cubicBezTo>
                      <a:pt x="30" y="66"/>
                      <a:pt x="30" y="66"/>
                      <a:pt x="30" y="66"/>
                    </a:cubicBezTo>
                    <a:cubicBezTo>
                      <a:pt x="30" y="66"/>
                      <a:pt x="31" y="67"/>
                      <a:pt x="33" y="70"/>
                    </a:cubicBezTo>
                    <a:cubicBezTo>
                      <a:pt x="37" y="75"/>
                      <a:pt x="42" y="85"/>
                      <a:pt x="50" y="96"/>
                    </a:cubicBezTo>
                    <a:cubicBezTo>
                      <a:pt x="38" y="83"/>
                      <a:pt x="31" y="75"/>
                      <a:pt x="31" y="75"/>
                    </a:cubicBezTo>
                    <a:cubicBezTo>
                      <a:pt x="31" y="75"/>
                      <a:pt x="31" y="75"/>
                      <a:pt x="31" y="75"/>
                    </a:cubicBezTo>
                    <a:cubicBezTo>
                      <a:pt x="31" y="75"/>
                      <a:pt x="31" y="75"/>
                      <a:pt x="31" y="75"/>
                    </a:cubicBezTo>
                    <a:cubicBezTo>
                      <a:pt x="31" y="75"/>
                      <a:pt x="31" y="75"/>
                      <a:pt x="31" y="75"/>
                    </a:cubicBezTo>
                    <a:cubicBezTo>
                      <a:pt x="30" y="75"/>
                      <a:pt x="30" y="75"/>
                      <a:pt x="30" y="75"/>
                    </a:cubicBezTo>
                    <a:cubicBezTo>
                      <a:pt x="30" y="75"/>
                      <a:pt x="30" y="75"/>
                      <a:pt x="30" y="75"/>
                    </a:cubicBezTo>
                    <a:cubicBezTo>
                      <a:pt x="30" y="75"/>
                      <a:pt x="30" y="75"/>
                      <a:pt x="30" y="75"/>
                    </a:cubicBezTo>
                    <a:cubicBezTo>
                      <a:pt x="14" y="89"/>
                      <a:pt x="14" y="89"/>
                      <a:pt x="14" y="89"/>
                    </a:cubicBezTo>
                    <a:cubicBezTo>
                      <a:pt x="14" y="89"/>
                      <a:pt x="14" y="89"/>
                      <a:pt x="14" y="89"/>
                    </a:cubicBezTo>
                    <a:cubicBezTo>
                      <a:pt x="14" y="89"/>
                      <a:pt x="14" y="89"/>
                      <a:pt x="14" y="89"/>
                    </a:cubicBezTo>
                    <a:cubicBezTo>
                      <a:pt x="14" y="89"/>
                      <a:pt x="14" y="89"/>
                      <a:pt x="14" y="89"/>
                    </a:cubicBezTo>
                    <a:cubicBezTo>
                      <a:pt x="14" y="89"/>
                      <a:pt x="14" y="89"/>
                      <a:pt x="14" y="89"/>
                    </a:cubicBezTo>
                    <a:cubicBezTo>
                      <a:pt x="14" y="89"/>
                      <a:pt x="14" y="89"/>
                      <a:pt x="14" y="90"/>
                    </a:cubicBezTo>
                    <a:cubicBezTo>
                      <a:pt x="14" y="90"/>
                      <a:pt x="14" y="89"/>
                      <a:pt x="14" y="89"/>
                    </a:cubicBezTo>
                    <a:cubicBezTo>
                      <a:pt x="14" y="89"/>
                      <a:pt x="15" y="91"/>
                      <a:pt x="17" y="94"/>
                    </a:cubicBezTo>
                    <a:cubicBezTo>
                      <a:pt x="19" y="98"/>
                      <a:pt x="23" y="103"/>
                      <a:pt x="27" y="110"/>
                    </a:cubicBezTo>
                    <a:cubicBezTo>
                      <a:pt x="27" y="109"/>
                      <a:pt x="27" y="109"/>
                      <a:pt x="27" y="109"/>
                    </a:cubicBezTo>
                    <a:cubicBezTo>
                      <a:pt x="27" y="109"/>
                      <a:pt x="28" y="110"/>
                      <a:pt x="28" y="111"/>
                    </a:cubicBezTo>
                    <a:cubicBezTo>
                      <a:pt x="28" y="111"/>
                      <a:pt x="27" y="110"/>
                      <a:pt x="27" y="110"/>
                    </a:cubicBezTo>
                    <a:cubicBezTo>
                      <a:pt x="27" y="110"/>
                      <a:pt x="27" y="109"/>
                      <a:pt x="27" y="109"/>
                    </a:cubicBezTo>
                    <a:cubicBezTo>
                      <a:pt x="27" y="109"/>
                      <a:pt x="27" y="109"/>
                      <a:pt x="27" y="109"/>
                    </a:cubicBezTo>
                    <a:cubicBezTo>
                      <a:pt x="27" y="109"/>
                      <a:pt x="27" y="109"/>
                      <a:pt x="27" y="109"/>
                    </a:cubicBezTo>
                    <a:cubicBezTo>
                      <a:pt x="22" y="113"/>
                      <a:pt x="18" y="116"/>
                      <a:pt x="15" y="118"/>
                    </a:cubicBezTo>
                    <a:cubicBezTo>
                      <a:pt x="3" y="127"/>
                      <a:pt x="3" y="127"/>
                      <a:pt x="3" y="127"/>
                    </a:cubicBezTo>
                    <a:cubicBezTo>
                      <a:pt x="3" y="127"/>
                      <a:pt x="3" y="127"/>
                      <a:pt x="3" y="127"/>
                    </a:cubicBezTo>
                    <a:cubicBezTo>
                      <a:pt x="3" y="127"/>
                      <a:pt x="3" y="127"/>
                      <a:pt x="3" y="127"/>
                    </a:cubicBezTo>
                    <a:cubicBezTo>
                      <a:pt x="3" y="127"/>
                      <a:pt x="3" y="127"/>
                      <a:pt x="3" y="127"/>
                    </a:cubicBezTo>
                    <a:cubicBezTo>
                      <a:pt x="3" y="127"/>
                      <a:pt x="3" y="127"/>
                      <a:pt x="3" y="127"/>
                    </a:cubicBezTo>
                    <a:cubicBezTo>
                      <a:pt x="3" y="127"/>
                      <a:pt x="3" y="127"/>
                      <a:pt x="3" y="127"/>
                    </a:cubicBezTo>
                    <a:cubicBezTo>
                      <a:pt x="3" y="127"/>
                      <a:pt x="4" y="128"/>
                      <a:pt x="6" y="130"/>
                    </a:cubicBezTo>
                    <a:cubicBezTo>
                      <a:pt x="4" y="128"/>
                      <a:pt x="3" y="127"/>
                      <a:pt x="3" y="127"/>
                    </a:cubicBezTo>
                    <a:cubicBezTo>
                      <a:pt x="3" y="127"/>
                      <a:pt x="29" y="163"/>
                      <a:pt x="61" y="203"/>
                    </a:cubicBezTo>
                    <a:cubicBezTo>
                      <a:pt x="39" y="181"/>
                      <a:pt x="20" y="161"/>
                      <a:pt x="15" y="156"/>
                    </a:cubicBezTo>
                    <a:cubicBezTo>
                      <a:pt x="14" y="155"/>
                      <a:pt x="14" y="155"/>
                      <a:pt x="14" y="155"/>
                    </a:cubicBezTo>
                    <a:cubicBezTo>
                      <a:pt x="14" y="155"/>
                      <a:pt x="14" y="155"/>
                      <a:pt x="14" y="155"/>
                    </a:cubicBezTo>
                    <a:cubicBezTo>
                      <a:pt x="14" y="155"/>
                      <a:pt x="14" y="155"/>
                      <a:pt x="14" y="155"/>
                    </a:cubicBezTo>
                    <a:cubicBezTo>
                      <a:pt x="14" y="155"/>
                      <a:pt x="14" y="155"/>
                      <a:pt x="14" y="155"/>
                    </a:cubicBezTo>
                    <a:cubicBezTo>
                      <a:pt x="14" y="155"/>
                      <a:pt x="14" y="155"/>
                      <a:pt x="14" y="155"/>
                    </a:cubicBezTo>
                    <a:cubicBezTo>
                      <a:pt x="14" y="155"/>
                      <a:pt x="14" y="155"/>
                      <a:pt x="14" y="155"/>
                    </a:cubicBezTo>
                    <a:cubicBezTo>
                      <a:pt x="9" y="159"/>
                      <a:pt x="7" y="162"/>
                      <a:pt x="5" y="164"/>
                    </a:cubicBezTo>
                    <a:cubicBezTo>
                      <a:pt x="2" y="166"/>
                      <a:pt x="1" y="168"/>
                      <a:pt x="1" y="168"/>
                    </a:cubicBezTo>
                    <a:cubicBezTo>
                      <a:pt x="0" y="168"/>
                      <a:pt x="0" y="168"/>
                      <a:pt x="0" y="168"/>
                    </a:cubicBezTo>
                    <a:cubicBezTo>
                      <a:pt x="0" y="168"/>
                      <a:pt x="0" y="168"/>
                      <a:pt x="0" y="168"/>
                    </a:cubicBezTo>
                    <a:cubicBezTo>
                      <a:pt x="0" y="168"/>
                      <a:pt x="0" y="168"/>
                      <a:pt x="0" y="168"/>
                    </a:cubicBezTo>
                    <a:cubicBezTo>
                      <a:pt x="0" y="168"/>
                      <a:pt x="0" y="168"/>
                      <a:pt x="0" y="168"/>
                    </a:cubicBezTo>
                    <a:cubicBezTo>
                      <a:pt x="0" y="168"/>
                      <a:pt x="0" y="168"/>
                      <a:pt x="0" y="168"/>
                    </a:cubicBezTo>
                    <a:cubicBezTo>
                      <a:pt x="0" y="168"/>
                      <a:pt x="0" y="168"/>
                      <a:pt x="0" y="168"/>
                    </a:cubicBezTo>
                    <a:cubicBezTo>
                      <a:pt x="0" y="168"/>
                      <a:pt x="0" y="168"/>
                      <a:pt x="0" y="168"/>
                    </a:cubicBezTo>
                    <a:cubicBezTo>
                      <a:pt x="1" y="169"/>
                      <a:pt x="13" y="187"/>
                      <a:pt x="34" y="214"/>
                    </a:cubicBezTo>
                    <a:cubicBezTo>
                      <a:pt x="22" y="201"/>
                      <a:pt x="14" y="192"/>
                      <a:pt x="14" y="192"/>
                    </a:cubicBezTo>
                    <a:cubicBezTo>
                      <a:pt x="14" y="192"/>
                      <a:pt x="14" y="192"/>
                      <a:pt x="14" y="192"/>
                    </a:cubicBezTo>
                    <a:cubicBezTo>
                      <a:pt x="14" y="192"/>
                      <a:pt x="14" y="192"/>
                      <a:pt x="14" y="192"/>
                    </a:cubicBezTo>
                    <a:cubicBezTo>
                      <a:pt x="14" y="192"/>
                      <a:pt x="14" y="192"/>
                      <a:pt x="14" y="192"/>
                    </a:cubicBezTo>
                    <a:cubicBezTo>
                      <a:pt x="14" y="192"/>
                      <a:pt x="14" y="192"/>
                      <a:pt x="14" y="192"/>
                    </a:cubicBezTo>
                    <a:cubicBezTo>
                      <a:pt x="14" y="192"/>
                      <a:pt x="14" y="192"/>
                      <a:pt x="14" y="192"/>
                    </a:cubicBezTo>
                    <a:cubicBezTo>
                      <a:pt x="0" y="202"/>
                      <a:pt x="0" y="202"/>
                      <a:pt x="0" y="202"/>
                    </a:cubicBezTo>
                    <a:cubicBezTo>
                      <a:pt x="0" y="202"/>
                      <a:pt x="0" y="202"/>
                      <a:pt x="0" y="202"/>
                    </a:cubicBezTo>
                    <a:cubicBezTo>
                      <a:pt x="0" y="202"/>
                      <a:pt x="0" y="202"/>
                      <a:pt x="0" y="202"/>
                    </a:cubicBezTo>
                    <a:cubicBezTo>
                      <a:pt x="0" y="202"/>
                      <a:pt x="0" y="202"/>
                      <a:pt x="0" y="202"/>
                    </a:cubicBezTo>
                    <a:cubicBezTo>
                      <a:pt x="0" y="202"/>
                      <a:pt x="0" y="202"/>
                      <a:pt x="0" y="202"/>
                    </a:cubicBezTo>
                    <a:cubicBezTo>
                      <a:pt x="0" y="202"/>
                      <a:pt x="0" y="203"/>
                      <a:pt x="1" y="203"/>
                    </a:cubicBezTo>
                    <a:cubicBezTo>
                      <a:pt x="0" y="203"/>
                      <a:pt x="0" y="203"/>
                      <a:pt x="0" y="203"/>
                    </a:cubicBezTo>
                    <a:cubicBezTo>
                      <a:pt x="0" y="203"/>
                      <a:pt x="20" y="239"/>
                      <a:pt x="33" y="257"/>
                    </a:cubicBezTo>
                    <a:cubicBezTo>
                      <a:pt x="24" y="264"/>
                      <a:pt x="24" y="264"/>
                      <a:pt x="24" y="264"/>
                    </a:cubicBezTo>
                    <a:cubicBezTo>
                      <a:pt x="24" y="264"/>
                      <a:pt x="24" y="264"/>
                      <a:pt x="24" y="265"/>
                    </a:cubicBezTo>
                    <a:cubicBezTo>
                      <a:pt x="24" y="265"/>
                      <a:pt x="24" y="265"/>
                      <a:pt x="24" y="265"/>
                    </a:cubicBezTo>
                    <a:cubicBezTo>
                      <a:pt x="24" y="265"/>
                      <a:pt x="40" y="283"/>
                      <a:pt x="51" y="296"/>
                    </a:cubicBezTo>
                    <a:cubicBezTo>
                      <a:pt x="53" y="298"/>
                      <a:pt x="56" y="300"/>
                      <a:pt x="57" y="302"/>
                    </a:cubicBezTo>
                    <a:cubicBezTo>
                      <a:pt x="77" y="322"/>
                      <a:pt x="96" y="333"/>
                      <a:pt x="98" y="333"/>
                    </a:cubicBezTo>
                    <a:cubicBezTo>
                      <a:pt x="98" y="333"/>
                      <a:pt x="98" y="333"/>
                      <a:pt x="98" y="333"/>
                    </a:cubicBezTo>
                    <a:cubicBezTo>
                      <a:pt x="98" y="333"/>
                      <a:pt x="98" y="333"/>
                      <a:pt x="98" y="333"/>
                    </a:cubicBezTo>
                    <a:cubicBezTo>
                      <a:pt x="98" y="333"/>
                      <a:pt x="98" y="333"/>
                      <a:pt x="98" y="333"/>
                    </a:cubicBezTo>
                    <a:cubicBezTo>
                      <a:pt x="98" y="333"/>
                      <a:pt x="98" y="333"/>
                      <a:pt x="98" y="333"/>
                    </a:cubicBezTo>
                    <a:cubicBezTo>
                      <a:pt x="98" y="333"/>
                      <a:pt x="98" y="333"/>
                      <a:pt x="98" y="333"/>
                    </a:cubicBezTo>
                    <a:cubicBezTo>
                      <a:pt x="98" y="333"/>
                      <a:pt x="98" y="333"/>
                      <a:pt x="98" y="333"/>
                    </a:cubicBezTo>
                    <a:cubicBezTo>
                      <a:pt x="104" y="323"/>
                      <a:pt x="104" y="323"/>
                      <a:pt x="104" y="323"/>
                    </a:cubicBezTo>
                    <a:cubicBezTo>
                      <a:pt x="104" y="323"/>
                      <a:pt x="104" y="323"/>
                      <a:pt x="104" y="323"/>
                    </a:cubicBezTo>
                    <a:cubicBezTo>
                      <a:pt x="104" y="323"/>
                      <a:pt x="104" y="323"/>
                      <a:pt x="104" y="323"/>
                    </a:cubicBezTo>
                    <a:cubicBezTo>
                      <a:pt x="104" y="323"/>
                      <a:pt x="104" y="323"/>
                      <a:pt x="104" y="322"/>
                    </a:cubicBezTo>
                    <a:cubicBezTo>
                      <a:pt x="104" y="322"/>
                      <a:pt x="104" y="323"/>
                      <a:pt x="104" y="323"/>
                    </a:cubicBezTo>
                    <a:cubicBezTo>
                      <a:pt x="104" y="323"/>
                      <a:pt x="104" y="322"/>
                      <a:pt x="103" y="321"/>
                    </a:cubicBezTo>
                    <a:cubicBezTo>
                      <a:pt x="99" y="317"/>
                      <a:pt x="91" y="307"/>
                      <a:pt x="82" y="295"/>
                    </a:cubicBezTo>
                    <a:cubicBezTo>
                      <a:pt x="117" y="327"/>
                      <a:pt x="147" y="346"/>
                      <a:pt x="154" y="350"/>
                    </a:cubicBezTo>
                    <a:cubicBezTo>
                      <a:pt x="155" y="350"/>
                      <a:pt x="155" y="350"/>
                      <a:pt x="155" y="350"/>
                    </a:cubicBezTo>
                    <a:cubicBezTo>
                      <a:pt x="155" y="350"/>
                      <a:pt x="156" y="350"/>
                      <a:pt x="156" y="350"/>
                    </a:cubicBezTo>
                    <a:cubicBezTo>
                      <a:pt x="156" y="350"/>
                      <a:pt x="156" y="350"/>
                      <a:pt x="156" y="350"/>
                    </a:cubicBezTo>
                    <a:cubicBezTo>
                      <a:pt x="156" y="350"/>
                      <a:pt x="156" y="350"/>
                      <a:pt x="156" y="350"/>
                    </a:cubicBezTo>
                    <a:cubicBezTo>
                      <a:pt x="156" y="350"/>
                      <a:pt x="156" y="350"/>
                      <a:pt x="156" y="350"/>
                    </a:cubicBezTo>
                    <a:cubicBezTo>
                      <a:pt x="156" y="350"/>
                      <a:pt x="156" y="350"/>
                      <a:pt x="156" y="350"/>
                    </a:cubicBezTo>
                    <a:cubicBezTo>
                      <a:pt x="156" y="350"/>
                      <a:pt x="156" y="350"/>
                      <a:pt x="156" y="350"/>
                    </a:cubicBezTo>
                    <a:cubicBezTo>
                      <a:pt x="159" y="346"/>
                      <a:pt x="162" y="342"/>
                      <a:pt x="164" y="340"/>
                    </a:cubicBezTo>
                    <a:cubicBezTo>
                      <a:pt x="170" y="333"/>
                      <a:pt x="172" y="331"/>
                      <a:pt x="172" y="330"/>
                    </a:cubicBezTo>
                    <a:cubicBezTo>
                      <a:pt x="172" y="330"/>
                      <a:pt x="172" y="330"/>
                      <a:pt x="172" y="330"/>
                    </a:cubicBezTo>
                    <a:cubicBezTo>
                      <a:pt x="172" y="330"/>
                      <a:pt x="172" y="330"/>
                      <a:pt x="172" y="330"/>
                    </a:cubicBezTo>
                    <a:cubicBezTo>
                      <a:pt x="172" y="330"/>
                      <a:pt x="172" y="330"/>
                      <a:pt x="172" y="330"/>
                    </a:cubicBezTo>
                    <a:cubicBezTo>
                      <a:pt x="172" y="330"/>
                      <a:pt x="172" y="330"/>
                      <a:pt x="172" y="330"/>
                    </a:cubicBezTo>
                    <a:cubicBezTo>
                      <a:pt x="172" y="330"/>
                      <a:pt x="172" y="330"/>
                      <a:pt x="172" y="330"/>
                    </a:cubicBezTo>
                    <a:cubicBezTo>
                      <a:pt x="172" y="330"/>
                      <a:pt x="172" y="330"/>
                      <a:pt x="172" y="330"/>
                    </a:cubicBezTo>
                    <a:cubicBezTo>
                      <a:pt x="172" y="330"/>
                      <a:pt x="172" y="330"/>
                      <a:pt x="172" y="330"/>
                    </a:cubicBezTo>
                    <a:cubicBezTo>
                      <a:pt x="172" y="330"/>
                      <a:pt x="172" y="330"/>
                      <a:pt x="172" y="330"/>
                    </a:cubicBezTo>
                    <a:cubicBezTo>
                      <a:pt x="172" y="329"/>
                      <a:pt x="165" y="323"/>
                      <a:pt x="153" y="310"/>
                    </a:cubicBezTo>
                    <a:cubicBezTo>
                      <a:pt x="163" y="316"/>
                      <a:pt x="171" y="322"/>
                      <a:pt x="179" y="327"/>
                    </a:cubicBezTo>
                    <a:cubicBezTo>
                      <a:pt x="191" y="335"/>
                      <a:pt x="199" y="340"/>
                      <a:pt x="199" y="340"/>
                    </a:cubicBezTo>
                    <a:cubicBezTo>
                      <a:pt x="199" y="340"/>
                      <a:pt x="199" y="340"/>
                      <a:pt x="198" y="339"/>
                    </a:cubicBezTo>
                    <a:cubicBezTo>
                      <a:pt x="199" y="339"/>
                      <a:pt x="199" y="340"/>
                      <a:pt x="200" y="340"/>
                    </a:cubicBezTo>
                    <a:cubicBezTo>
                      <a:pt x="200" y="340"/>
                      <a:pt x="200" y="340"/>
                      <a:pt x="200" y="340"/>
                    </a:cubicBezTo>
                    <a:cubicBezTo>
                      <a:pt x="200" y="340"/>
                      <a:pt x="200" y="340"/>
                      <a:pt x="200" y="340"/>
                    </a:cubicBezTo>
                    <a:cubicBezTo>
                      <a:pt x="200" y="340"/>
                      <a:pt x="200" y="340"/>
                      <a:pt x="200" y="340"/>
                    </a:cubicBezTo>
                    <a:cubicBezTo>
                      <a:pt x="200" y="340"/>
                      <a:pt x="200" y="340"/>
                      <a:pt x="200" y="340"/>
                    </a:cubicBezTo>
                    <a:cubicBezTo>
                      <a:pt x="200" y="340"/>
                      <a:pt x="200" y="340"/>
                      <a:pt x="200" y="340"/>
                    </a:cubicBezTo>
                    <a:cubicBezTo>
                      <a:pt x="209" y="329"/>
                      <a:pt x="212" y="325"/>
                      <a:pt x="213" y="323"/>
                    </a:cubicBezTo>
                    <a:cubicBezTo>
                      <a:pt x="223" y="330"/>
                      <a:pt x="230" y="333"/>
                      <a:pt x="230" y="333"/>
                    </a:cubicBezTo>
                    <a:cubicBezTo>
                      <a:pt x="230" y="333"/>
                      <a:pt x="230" y="333"/>
                      <a:pt x="230" y="333"/>
                    </a:cubicBezTo>
                    <a:cubicBezTo>
                      <a:pt x="230" y="333"/>
                      <a:pt x="230" y="333"/>
                      <a:pt x="230" y="333"/>
                    </a:cubicBezTo>
                    <a:cubicBezTo>
                      <a:pt x="230" y="333"/>
                      <a:pt x="230" y="333"/>
                      <a:pt x="230" y="333"/>
                    </a:cubicBezTo>
                    <a:cubicBezTo>
                      <a:pt x="230" y="333"/>
                      <a:pt x="230" y="333"/>
                      <a:pt x="230" y="333"/>
                    </a:cubicBezTo>
                    <a:cubicBezTo>
                      <a:pt x="230" y="333"/>
                      <a:pt x="230" y="333"/>
                      <a:pt x="230" y="333"/>
                    </a:cubicBezTo>
                    <a:cubicBezTo>
                      <a:pt x="230" y="333"/>
                      <a:pt x="230" y="333"/>
                      <a:pt x="230" y="333"/>
                    </a:cubicBezTo>
                    <a:cubicBezTo>
                      <a:pt x="230" y="333"/>
                      <a:pt x="230" y="333"/>
                      <a:pt x="230" y="333"/>
                    </a:cubicBezTo>
                    <a:cubicBezTo>
                      <a:pt x="233" y="329"/>
                      <a:pt x="235" y="325"/>
                      <a:pt x="237" y="323"/>
                    </a:cubicBezTo>
                    <a:cubicBezTo>
                      <a:pt x="244" y="313"/>
                      <a:pt x="244" y="313"/>
                      <a:pt x="244" y="313"/>
                    </a:cubicBezTo>
                    <a:cubicBezTo>
                      <a:pt x="244" y="313"/>
                      <a:pt x="244" y="313"/>
                      <a:pt x="244" y="313"/>
                    </a:cubicBezTo>
                    <a:cubicBezTo>
                      <a:pt x="244" y="313"/>
                      <a:pt x="244" y="313"/>
                      <a:pt x="244" y="313"/>
                    </a:cubicBezTo>
                    <a:cubicBezTo>
                      <a:pt x="244" y="313"/>
                      <a:pt x="244" y="313"/>
                      <a:pt x="244" y="313"/>
                    </a:cubicBezTo>
                    <a:cubicBezTo>
                      <a:pt x="244" y="313"/>
                      <a:pt x="244" y="312"/>
                      <a:pt x="244" y="312"/>
                    </a:cubicBezTo>
                    <a:cubicBezTo>
                      <a:pt x="244" y="312"/>
                      <a:pt x="243" y="312"/>
                      <a:pt x="243" y="312"/>
                    </a:cubicBezTo>
                    <a:cubicBezTo>
                      <a:pt x="243" y="312"/>
                      <a:pt x="243" y="312"/>
                      <a:pt x="242" y="311"/>
                    </a:cubicBezTo>
                    <a:cubicBezTo>
                      <a:pt x="243" y="312"/>
                      <a:pt x="244" y="312"/>
                      <a:pt x="244" y="312"/>
                    </a:cubicBezTo>
                    <a:cubicBezTo>
                      <a:pt x="244" y="312"/>
                      <a:pt x="240" y="309"/>
                      <a:pt x="234" y="304"/>
                    </a:cubicBezTo>
                    <a:cubicBezTo>
                      <a:pt x="227" y="298"/>
                      <a:pt x="218" y="290"/>
                      <a:pt x="206" y="280"/>
                    </a:cubicBezTo>
                    <a:cubicBezTo>
                      <a:pt x="244" y="301"/>
                      <a:pt x="274" y="309"/>
                      <a:pt x="274" y="309"/>
                    </a:cubicBezTo>
                    <a:cubicBezTo>
                      <a:pt x="274" y="309"/>
                      <a:pt x="273" y="309"/>
                      <a:pt x="273" y="309"/>
                    </a:cubicBezTo>
                    <a:cubicBezTo>
                      <a:pt x="274" y="309"/>
                      <a:pt x="274" y="309"/>
                      <a:pt x="274" y="309"/>
                    </a:cubicBezTo>
                    <a:cubicBezTo>
                      <a:pt x="274" y="309"/>
                      <a:pt x="274" y="309"/>
                      <a:pt x="274" y="309"/>
                    </a:cubicBezTo>
                    <a:cubicBezTo>
                      <a:pt x="274" y="309"/>
                      <a:pt x="274" y="309"/>
                      <a:pt x="274" y="309"/>
                    </a:cubicBezTo>
                    <a:cubicBezTo>
                      <a:pt x="274" y="309"/>
                      <a:pt x="274" y="309"/>
                      <a:pt x="274" y="309"/>
                    </a:cubicBezTo>
                    <a:cubicBezTo>
                      <a:pt x="274" y="309"/>
                      <a:pt x="274" y="309"/>
                      <a:pt x="274" y="309"/>
                    </a:cubicBezTo>
                    <a:cubicBezTo>
                      <a:pt x="275" y="308"/>
                      <a:pt x="275" y="307"/>
                      <a:pt x="276" y="306"/>
                    </a:cubicBezTo>
                    <a:cubicBezTo>
                      <a:pt x="284" y="292"/>
                      <a:pt x="284" y="292"/>
                      <a:pt x="284" y="292"/>
                    </a:cubicBezTo>
                    <a:cubicBezTo>
                      <a:pt x="284" y="292"/>
                      <a:pt x="284" y="292"/>
                      <a:pt x="284" y="292"/>
                    </a:cubicBezTo>
                    <a:cubicBezTo>
                      <a:pt x="284" y="292"/>
                      <a:pt x="284" y="292"/>
                      <a:pt x="284" y="292"/>
                    </a:cubicBezTo>
                    <a:cubicBezTo>
                      <a:pt x="284" y="292"/>
                      <a:pt x="284" y="292"/>
                      <a:pt x="284" y="292"/>
                    </a:cubicBezTo>
                    <a:cubicBezTo>
                      <a:pt x="284" y="292"/>
                      <a:pt x="284" y="292"/>
                      <a:pt x="284" y="292"/>
                    </a:cubicBezTo>
                    <a:cubicBezTo>
                      <a:pt x="284" y="292"/>
                      <a:pt x="283" y="290"/>
                      <a:pt x="279" y="288"/>
                    </a:cubicBezTo>
                    <a:cubicBezTo>
                      <a:pt x="278" y="287"/>
                      <a:pt x="276" y="285"/>
                      <a:pt x="274" y="284"/>
                    </a:cubicBezTo>
                    <a:cubicBezTo>
                      <a:pt x="275" y="282"/>
                      <a:pt x="276" y="280"/>
                      <a:pt x="276" y="279"/>
                    </a:cubicBezTo>
                    <a:cubicBezTo>
                      <a:pt x="277" y="278"/>
                      <a:pt x="277" y="278"/>
                      <a:pt x="277" y="278"/>
                    </a:cubicBezTo>
                    <a:cubicBezTo>
                      <a:pt x="277" y="278"/>
                      <a:pt x="277" y="278"/>
                      <a:pt x="277" y="278"/>
                    </a:cubicBezTo>
                    <a:cubicBezTo>
                      <a:pt x="277" y="278"/>
                      <a:pt x="277" y="278"/>
                      <a:pt x="277" y="278"/>
                    </a:cubicBezTo>
                    <a:cubicBezTo>
                      <a:pt x="277" y="278"/>
                      <a:pt x="277" y="278"/>
                      <a:pt x="277" y="278"/>
                    </a:cubicBezTo>
                    <a:cubicBezTo>
                      <a:pt x="277" y="278"/>
                      <a:pt x="277" y="278"/>
                      <a:pt x="277" y="278"/>
                    </a:cubicBezTo>
                    <a:cubicBezTo>
                      <a:pt x="277" y="278"/>
                      <a:pt x="277" y="278"/>
                      <a:pt x="277" y="278"/>
                    </a:cubicBezTo>
                    <a:cubicBezTo>
                      <a:pt x="277" y="278"/>
                      <a:pt x="277" y="278"/>
                      <a:pt x="277" y="278"/>
                    </a:cubicBezTo>
                    <a:cubicBezTo>
                      <a:pt x="277" y="278"/>
                      <a:pt x="277" y="278"/>
                      <a:pt x="277" y="278"/>
                    </a:cubicBezTo>
                    <a:cubicBezTo>
                      <a:pt x="277" y="278"/>
                      <a:pt x="277" y="278"/>
                      <a:pt x="277" y="277"/>
                    </a:cubicBezTo>
                    <a:cubicBezTo>
                      <a:pt x="274" y="275"/>
                      <a:pt x="264" y="266"/>
                      <a:pt x="248" y="251"/>
                    </a:cubicBezTo>
                    <a:cubicBezTo>
                      <a:pt x="274" y="267"/>
                      <a:pt x="292" y="274"/>
                      <a:pt x="294" y="275"/>
                    </a:cubicBezTo>
                    <a:cubicBezTo>
                      <a:pt x="294" y="275"/>
                      <a:pt x="294" y="275"/>
                      <a:pt x="294" y="275"/>
                    </a:cubicBezTo>
                    <a:cubicBezTo>
                      <a:pt x="294" y="275"/>
                      <a:pt x="294" y="275"/>
                      <a:pt x="294" y="275"/>
                    </a:cubicBezTo>
                    <a:cubicBezTo>
                      <a:pt x="294" y="275"/>
                      <a:pt x="294" y="275"/>
                      <a:pt x="294" y="275"/>
                    </a:cubicBezTo>
                    <a:cubicBezTo>
                      <a:pt x="294" y="275"/>
                      <a:pt x="294" y="275"/>
                      <a:pt x="294" y="275"/>
                    </a:cubicBezTo>
                    <a:cubicBezTo>
                      <a:pt x="294" y="275"/>
                      <a:pt x="294" y="275"/>
                      <a:pt x="294" y="275"/>
                    </a:cubicBezTo>
                    <a:cubicBezTo>
                      <a:pt x="294" y="275"/>
                      <a:pt x="294" y="275"/>
                      <a:pt x="294" y="275"/>
                    </a:cubicBezTo>
                    <a:cubicBezTo>
                      <a:pt x="294" y="275"/>
                      <a:pt x="294" y="275"/>
                      <a:pt x="294" y="275"/>
                    </a:cubicBezTo>
                    <a:cubicBezTo>
                      <a:pt x="294" y="275"/>
                      <a:pt x="294" y="275"/>
                      <a:pt x="294" y="275"/>
                    </a:cubicBezTo>
                    <a:cubicBezTo>
                      <a:pt x="307" y="254"/>
                      <a:pt x="307" y="254"/>
                      <a:pt x="307" y="254"/>
                    </a:cubicBezTo>
                    <a:cubicBezTo>
                      <a:pt x="307" y="254"/>
                      <a:pt x="307" y="254"/>
                      <a:pt x="307" y="254"/>
                    </a:cubicBezTo>
                    <a:cubicBezTo>
                      <a:pt x="307" y="254"/>
                      <a:pt x="307" y="254"/>
                      <a:pt x="307" y="254"/>
                    </a:cubicBezTo>
                    <a:cubicBezTo>
                      <a:pt x="307" y="254"/>
                      <a:pt x="307" y="254"/>
                      <a:pt x="307" y="254"/>
                    </a:cubicBezTo>
                    <a:cubicBezTo>
                      <a:pt x="307" y="254"/>
                      <a:pt x="307" y="254"/>
                      <a:pt x="307" y="254"/>
                    </a:cubicBezTo>
                    <a:cubicBezTo>
                      <a:pt x="307" y="254"/>
                      <a:pt x="307" y="254"/>
                      <a:pt x="307" y="254"/>
                    </a:cubicBezTo>
                    <a:cubicBezTo>
                      <a:pt x="306" y="254"/>
                      <a:pt x="297" y="247"/>
                      <a:pt x="283" y="236"/>
                    </a:cubicBezTo>
                    <a:cubicBezTo>
                      <a:pt x="284" y="235"/>
                      <a:pt x="285" y="234"/>
                      <a:pt x="286" y="233"/>
                    </a:cubicBezTo>
                    <a:cubicBezTo>
                      <a:pt x="291" y="227"/>
                      <a:pt x="291" y="227"/>
                      <a:pt x="291" y="227"/>
                    </a:cubicBezTo>
                    <a:cubicBezTo>
                      <a:pt x="291" y="227"/>
                      <a:pt x="291" y="227"/>
                      <a:pt x="291" y="227"/>
                    </a:cubicBezTo>
                    <a:cubicBezTo>
                      <a:pt x="291" y="227"/>
                      <a:pt x="291" y="227"/>
                      <a:pt x="291" y="227"/>
                    </a:cubicBezTo>
                    <a:cubicBezTo>
                      <a:pt x="291" y="227"/>
                      <a:pt x="291" y="227"/>
                      <a:pt x="290" y="227"/>
                    </a:cubicBezTo>
                    <a:cubicBezTo>
                      <a:pt x="290" y="227"/>
                      <a:pt x="290" y="226"/>
                      <a:pt x="289" y="226"/>
                    </a:cubicBezTo>
                    <a:cubicBezTo>
                      <a:pt x="289" y="225"/>
                      <a:pt x="289" y="225"/>
                      <a:pt x="289" y="225"/>
                    </a:cubicBezTo>
                    <a:cubicBezTo>
                      <a:pt x="290" y="226"/>
                      <a:pt x="291" y="226"/>
                      <a:pt x="291" y="226"/>
                    </a:cubicBezTo>
                    <a:cubicBezTo>
                      <a:pt x="291" y="226"/>
                      <a:pt x="290" y="226"/>
                      <a:pt x="289" y="225"/>
                    </a:cubicBezTo>
                    <a:cubicBezTo>
                      <a:pt x="294" y="219"/>
                      <a:pt x="294" y="219"/>
                      <a:pt x="294" y="219"/>
                    </a:cubicBezTo>
                    <a:cubicBezTo>
                      <a:pt x="294" y="219"/>
                      <a:pt x="281" y="203"/>
                      <a:pt x="262" y="185"/>
                    </a:cubicBezTo>
                    <a:cubicBezTo>
                      <a:pt x="276" y="196"/>
                      <a:pt x="288" y="206"/>
                      <a:pt x="298" y="213"/>
                    </a:cubicBezTo>
                    <a:cubicBezTo>
                      <a:pt x="295" y="211"/>
                      <a:pt x="291" y="208"/>
                      <a:pt x="287" y="204"/>
                    </a:cubicBezTo>
                    <a:cubicBezTo>
                      <a:pt x="290" y="206"/>
                      <a:pt x="292" y="208"/>
                      <a:pt x="294" y="210"/>
                    </a:cubicBezTo>
                    <a:cubicBezTo>
                      <a:pt x="295" y="211"/>
                      <a:pt x="296" y="211"/>
                      <a:pt x="297" y="212"/>
                    </a:cubicBezTo>
                    <a:cubicBezTo>
                      <a:pt x="311" y="223"/>
                      <a:pt x="318" y="226"/>
                      <a:pt x="318" y="226"/>
                    </a:cubicBezTo>
                    <a:cubicBezTo>
                      <a:pt x="318" y="226"/>
                      <a:pt x="318" y="226"/>
                      <a:pt x="318" y="226"/>
                    </a:cubicBezTo>
                    <a:cubicBezTo>
                      <a:pt x="318" y="226"/>
                      <a:pt x="318" y="226"/>
                      <a:pt x="318" y="226"/>
                    </a:cubicBezTo>
                    <a:cubicBezTo>
                      <a:pt x="322" y="220"/>
                      <a:pt x="325" y="217"/>
                      <a:pt x="327" y="214"/>
                    </a:cubicBezTo>
                    <a:cubicBezTo>
                      <a:pt x="331" y="209"/>
                      <a:pt x="331" y="209"/>
                      <a:pt x="331" y="209"/>
                    </a:cubicBezTo>
                    <a:cubicBezTo>
                      <a:pt x="331" y="209"/>
                      <a:pt x="331" y="209"/>
                      <a:pt x="331" y="209"/>
                    </a:cubicBezTo>
                    <a:cubicBezTo>
                      <a:pt x="331" y="209"/>
                      <a:pt x="331" y="209"/>
                      <a:pt x="331" y="209"/>
                    </a:cubicBezTo>
                    <a:cubicBezTo>
                      <a:pt x="331" y="209"/>
                      <a:pt x="331" y="209"/>
                      <a:pt x="331" y="209"/>
                    </a:cubicBezTo>
                    <a:cubicBezTo>
                      <a:pt x="331" y="209"/>
                      <a:pt x="331" y="209"/>
                      <a:pt x="331" y="209"/>
                    </a:cubicBezTo>
                    <a:cubicBezTo>
                      <a:pt x="331" y="209"/>
                      <a:pt x="331" y="209"/>
                      <a:pt x="331" y="209"/>
                    </a:cubicBezTo>
                    <a:cubicBezTo>
                      <a:pt x="329" y="207"/>
                      <a:pt x="317" y="198"/>
                      <a:pt x="298" y="182"/>
                    </a:cubicBezTo>
                    <a:cubicBezTo>
                      <a:pt x="291" y="177"/>
                      <a:pt x="284" y="171"/>
                      <a:pt x="277" y="164"/>
                    </a:cubicBezTo>
                    <a:cubicBezTo>
                      <a:pt x="273" y="161"/>
                      <a:pt x="268" y="157"/>
                      <a:pt x="264" y="153"/>
                    </a:cubicBezTo>
                    <a:cubicBezTo>
                      <a:pt x="258" y="147"/>
                      <a:pt x="251" y="142"/>
                      <a:pt x="245" y="135"/>
                    </a:cubicBezTo>
                    <a:cubicBezTo>
                      <a:pt x="244" y="134"/>
                      <a:pt x="243" y="133"/>
                      <a:pt x="241" y="132"/>
                    </a:cubicBezTo>
                    <a:cubicBezTo>
                      <a:pt x="244" y="134"/>
                      <a:pt x="247" y="136"/>
                      <a:pt x="250" y="139"/>
                    </a:cubicBezTo>
                    <a:cubicBezTo>
                      <a:pt x="289" y="171"/>
                      <a:pt x="321" y="189"/>
                      <a:pt x="321" y="189"/>
                    </a:cubicBezTo>
                    <a:cubicBezTo>
                      <a:pt x="321" y="189"/>
                      <a:pt x="320" y="188"/>
                      <a:pt x="318" y="187"/>
                    </a:cubicBezTo>
                    <a:cubicBezTo>
                      <a:pt x="320" y="188"/>
                      <a:pt x="321" y="189"/>
                      <a:pt x="321" y="189"/>
                    </a:cubicBezTo>
                    <a:cubicBezTo>
                      <a:pt x="321" y="189"/>
                      <a:pt x="321" y="189"/>
                      <a:pt x="321" y="189"/>
                    </a:cubicBezTo>
                    <a:cubicBezTo>
                      <a:pt x="321" y="189"/>
                      <a:pt x="321" y="189"/>
                      <a:pt x="321" y="189"/>
                    </a:cubicBezTo>
                    <a:cubicBezTo>
                      <a:pt x="321" y="189"/>
                      <a:pt x="321" y="189"/>
                      <a:pt x="321" y="189"/>
                    </a:cubicBezTo>
                    <a:cubicBezTo>
                      <a:pt x="322" y="187"/>
                      <a:pt x="323" y="186"/>
                      <a:pt x="324" y="184"/>
                    </a:cubicBezTo>
                    <a:cubicBezTo>
                      <a:pt x="324" y="184"/>
                      <a:pt x="325" y="183"/>
                      <a:pt x="325" y="182"/>
                    </a:cubicBezTo>
                    <a:cubicBezTo>
                      <a:pt x="330" y="175"/>
                      <a:pt x="331" y="172"/>
                      <a:pt x="331" y="172"/>
                    </a:cubicBezTo>
                    <a:cubicBezTo>
                      <a:pt x="331" y="172"/>
                      <a:pt x="331" y="172"/>
                      <a:pt x="331" y="172"/>
                    </a:cubicBezTo>
                    <a:cubicBezTo>
                      <a:pt x="331" y="172"/>
                      <a:pt x="331" y="172"/>
                      <a:pt x="331" y="172"/>
                    </a:cubicBezTo>
                    <a:cubicBezTo>
                      <a:pt x="331" y="172"/>
                      <a:pt x="331" y="172"/>
                      <a:pt x="331" y="172"/>
                    </a:cubicBezTo>
                    <a:cubicBezTo>
                      <a:pt x="331" y="172"/>
                      <a:pt x="331" y="172"/>
                      <a:pt x="331" y="172"/>
                    </a:cubicBezTo>
                    <a:cubicBezTo>
                      <a:pt x="331" y="171"/>
                      <a:pt x="331" y="171"/>
                      <a:pt x="331" y="171"/>
                    </a:cubicBezTo>
                    <a:cubicBezTo>
                      <a:pt x="331" y="171"/>
                      <a:pt x="331" y="171"/>
                      <a:pt x="331" y="171"/>
                    </a:cubicBezTo>
                    <a:cubicBezTo>
                      <a:pt x="331" y="171"/>
                      <a:pt x="331" y="171"/>
                      <a:pt x="331" y="171"/>
                    </a:cubicBezTo>
                    <a:cubicBezTo>
                      <a:pt x="331" y="171"/>
                      <a:pt x="330" y="170"/>
                      <a:pt x="326" y="168"/>
                    </a:cubicBezTo>
                    <a:cubicBezTo>
                      <a:pt x="322" y="164"/>
                      <a:pt x="314" y="158"/>
                      <a:pt x="303" y="149"/>
                    </a:cubicBezTo>
                    <a:cubicBezTo>
                      <a:pt x="316" y="157"/>
                      <a:pt x="324" y="161"/>
                      <a:pt x="324" y="161"/>
                    </a:cubicBezTo>
                    <a:cubicBezTo>
                      <a:pt x="324" y="161"/>
                      <a:pt x="324" y="161"/>
                      <a:pt x="324" y="161"/>
                    </a:cubicBezTo>
                    <a:cubicBezTo>
                      <a:pt x="324" y="161"/>
                      <a:pt x="324" y="161"/>
                      <a:pt x="324" y="161"/>
                    </a:cubicBezTo>
                    <a:cubicBezTo>
                      <a:pt x="324" y="161"/>
                      <a:pt x="324" y="161"/>
                      <a:pt x="324" y="161"/>
                    </a:cubicBezTo>
                    <a:cubicBezTo>
                      <a:pt x="324" y="161"/>
                      <a:pt x="324" y="161"/>
                      <a:pt x="324" y="161"/>
                    </a:cubicBezTo>
                    <a:cubicBezTo>
                      <a:pt x="325" y="161"/>
                      <a:pt x="325" y="161"/>
                      <a:pt x="325" y="161"/>
                    </a:cubicBezTo>
                    <a:cubicBezTo>
                      <a:pt x="325" y="161"/>
                      <a:pt x="325" y="161"/>
                      <a:pt x="324" y="161"/>
                    </a:cubicBezTo>
                    <a:cubicBezTo>
                      <a:pt x="329" y="154"/>
                      <a:pt x="332" y="151"/>
                      <a:pt x="333" y="149"/>
                    </a:cubicBezTo>
                    <a:cubicBezTo>
                      <a:pt x="334" y="148"/>
                      <a:pt x="334" y="148"/>
                      <a:pt x="334" y="148"/>
                    </a:cubicBezTo>
                    <a:cubicBezTo>
                      <a:pt x="334" y="148"/>
                      <a:pt x="334" y="148"/>
                      <a:pt x="334" y="148"/>
                    </a:cubicBezTo>
                    <a:cubicBezTo>
                      <a:pt x="334" y="148"/>
                      <a:pt x="334" y="148"/>
                      <a:pt x="334" y="148"/>
                    </a:cubicBezTo>
                    <a:cubicBezTo>
                      <a:pt x="334" y="148"/>
                      <a:pt x="334" y="148"/>
                      <a:pt x="334" y="148"/>
                    </a:cubicBezTo>
                    <a:cubicBezTo>
                      <a:pt x="334" y="148"/>
                      <a:pt x="334" y="148"/>
                      <a:pt x="334" y="148"/>
                    </a:cubicBezTo>
                    <a:cubicBezTo>
                      <a:pt x="334" y="148"/>
                      <a:pt x="334" y="147"/>
                      <a:pt x="334" y="147"/>
                    </a:cubicBezTo>
                    <a:close/>
                    <a:moveTo>
                      <a:pt x="61" y="48"/>
                    </a:moveTo>
                    <a:cubicBezTo>
                      <a:pt x="61" y="48"/>
                      <a:pt x="61" y="48"/>
                      <a:pt x="61" y="48"/>
                    </a:cubicBezTo>
                    <a:cubicBezTo>
                      <a:pt x="62" y="47"/>
                      <a:pt x="62" y="47"/>
                      <a:pt x="62" y="47"/>
                    </a:cubicBezTo>
                    <a:cubicBezTo>
                      <a:pt x="62" y="47"/>
                      <a:pt x="62" y="47"/>
                      <a:pt x="62" y="47"/>
                    </a:cubicBezTo>
                    <a:cubicBezTo>
                      <a:pt x="62" y="47"/>
                      <a:pt x="61" y="48"/>
                      <a:pt x="61" y="48"/>
                    </a:cubicBezTo>
                    <a:close/>
                    <a:moveTo>
                      <a:pt x="178" y="113"/>
                    </a:moveTo>
                    <a:cubicBezTo>
                      <a:pt x="178" y="113"/>
                      <a:pt x="178" y="113"/>
                      <a:pt x="178" y="112"/>
                    </a:cubicBezTo>
                    <a:cubicBezTo>
                      <a:pt x="178" y="113"/>
                      <a:pt x="178" y="113"/>
                      <a:pt x="178" y="113"/>
                    </a:cubicBezTo>
                    <a:cubicBezTo>
                      <a:pt x="178" y="113"/>
                      <a:pt x="178" y="113"/>
                      <a:pt x="178" y="113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solidFill>
                  <a:schemeClr val="accent2"/>
                </a:solidFill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chemeClr val="accent3">
                      <a:lumMod val="75000"/>
                    </a:schemeClr>
                  </a:solidFill>
                </a:endParaRPr>
              </a:p>
            </p:txBody>
          </p:sp>
          <p:pic>
            <p:nvPicPr>
              <p:cNvPr id="46" name="Picture 54" descr="Benchmark Icon 2677433">
                <a:extLst>
                  <a:ext uri="{FF2B5EF4-FFF2-40B4-BE49-F238E27FC236}">
                    <a16:creationId xmlns:a16="http://schemas.microsoft.com/office/drawing/2014/main" id="{C2879E51-50BD-93DE-D83F-BF261FBBEBBD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10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797307" y="789596"/>
                <a:ext cx="451601" cy="451601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</p:grp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5DB1727A-CCBD-6982-D3A6-BAC5A25BD868}"/>
              </a:ext>
            </a:extLst>
          </p:cNvPr>
          <p:cNvSpPr/>
          <p:nvPr/>
        </p:nvSpPr>
        <p:spPr>
          <a:xfrm>
            <a:off x="4798074" y="3376273"/>
            <a:ext cx="4007853" cy="892430"/>
          </a:xfrm>
          <a:prstGeom prst="roundRect">
            <a:avLst/>
          </a:prstGeom>
          <a:solidFill>
            <a:schemeClr val="bg1"/>
          </a:solidFill>
          <a:ln w="9525">
            <a:solidFill>
              <a:schemeClr val="tx2">
                <a:lumMod val="40000"/>
                <a:lumOff val="60000"/>
              </a:schemeClr>
            </a:solidFill>
            <a:extLst>
              <a:ext uri="{C807C97D-BFC1-408E-A445-0C87EB9F89A2}">
                <ask:lineSketchStyleProps xmlns:ask="http://schemas.microsoft.com/office/drawing/2018/sketchyshapes" sd="882566749">
                  <a:custGeom>
                    <a:avLst/>
                    <a:gdLst>
                      <a:gd name="connsiteX0" fmla="*/ 0 w 4408638"/>
                      <a:gd name="connsiteY0" fmla="*/ 614510 h 1229020"/>
                      <a:gd name="connsiteX1" fmla="*/ 2204319 w 4408638"/>
                      <a:gd name="connsiteY1" fmla="*/ 0 h 1229020"/>
                      <a:gd name="connsiteX2" fmla="*/ 4408638 w 4408638"/>
                      <a:gd name="connsiteY2" fmla="*/ 614510 h 1229020"/>
                      <a:gd name="connsiteX3" fmla="*/ 2204319 w 4408638"/>
                      <a:gd name="connsiteY3" fmla="*/ 1229020 h 1229020"/>
                      <a:gd name="connsiteX4" fmla="*/ 0 w 4408638"/>
                      <a:gd name="connsiteY4" fmla="*/ 614510 h 122902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4408638" h="1229020" fill="none" extrusionOk="0">
                        <a:moveTo>
                          <a:pt x="0" y="614510"/>
                        </a:moveTo>
                        <a:cubicBezTo>
                          <a:pt x="-74410" y="364575"/>
                          <a:pt x="940874" y="-61402"/>
                          <a:pt x="2204319" y="0"/>
                        </a:cubicBezTo>
                        <a:cubicBezTo>
                          <a:pt x="3403055" y="-64139"/>
                          <a:pt x="4365661" y="248648"/>
                          <a:pt x="4408638" y="614510"/>
                        </a:cubicBezTo>
                        <a:cubicBezTo>
                          <a:pt x="4393162" y="938434"/>
                          <a:pt x="3519291" y="1065870"/>
                          <a:pt x="2204319" y="1229020"/>
                        </a:cubicBezTo>
                        <a:cubicBezTo>
                          <a:pt x="978607" y="1221231"/>
                          <a:pt x="-5257" y="967976"/>
                          <a:pt x="0" y="614510"/>
                        </a:cubicBezTo>
                        <a:close/>
                      </a:path>
                      <a:path w="4408638" h="1229020" stroke="0" extrusionOk="0">
                        <a:moveTo>
                          <a:pt x="0" y="614510"/>
                        </a:moveTo>
                        <a:cubicBezTo>
                          <a:pt x="-9426" y="297593"/>
                          <a:pt x="811161" y="39970"/>
                          <a:pt x="2204319" y="0"/>
                        </a:cubicBezTo>
                        <a:cubicBezTo>
                          <a:pt x="3465604" y="45130"/>
                          <a:pt x="4352196" y="241888"/>
                          <a:pt x="4408638" y="614510"/>
                        </a:cubicBezTo>
                        <a:cubicBezTo>
                          <a:pt x="4350905" y="942124"/>
                          <a:pt x="3478658" y="1129160"/>
                          <a:pt x="2204319" y="1229020"/>
                        </a:cubicBezTo>
                        <a:cubicBezTo>
                          <a:pt x="1040707" y="1211994"/>
                          <a:pt x="-32030" y="969321"/>
                          <a:pt x="0" y="614510"/>
                        </a:cubicBezTo>
                        <a:close/>
                      </a:path>
                    </a:pathLst>
                  </a:custGeom>
                  <ask:type>
                    <ask:lineSketchNone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72000" rIns="36000" rtlCol="0" anchor="ctr"/>
          <a:lstStyle/>
          <a:p>
            <a:r>
              <a:rPr lang="en-US" sz="1600" b="1" dirty="0">
                <a:solidFill>
                  <a:schemeClr val="tx1"/>
                </a:solidFill>
              </a:rPr>
              <a:t>Further analyzes </a:t>
            </a:r>
            <a:r>
              <a:rPr lang="en-US" sz="1600" dirty="0">
                <a:solidFill>
                  <a:schemeClr val="tx1"/>
                </a:solidFill>
              </a:rPr>
              <a:t>are underway to </a:t>
            </a:r>
            <a:r>
              <a:rPr lang="en-US" sz="1600" b="1" dirty="0">
                <a:solidFill>
                  <a:schemeClr val="tx1"/>
                </a:solidFill>
              </a:rPr>
              <a:t>understand </a:t>
            </a:r>
            <a:r>
              <a:rPr lang="en-US" sz="1600" dirty="0">
                <a:solidFill>
                  <a:schemeClr val="tx1"/>
                </a:solidFill>
              </a:rPr>
              <a:t>the </a:t>
            </a:r>
            <a:r>
              <a:rPr lang="en-US" sz="1600" b="1" dirty="0">
                <a:solidFill>
                  <a:schemeClr val="tx1"/>
                </a:solidFill>
              </a:rPr>
              <a:t>impacts on safety</a:t>
            </a:r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8F20B433-4018-1FC8-F589-374366D4B0D8}"/>
              </a:ext>
            </a:extLst>
          </p:cNvPr>
          <p:cNvGrpSpPr/>
          <p:nvPr/>
        </p:nvGrpSpPr>
        <p:grpSpPr>
          <a:xfrm>
            <a:off x="5480907" y="3037173"/>
            <a:ext cx="2483395" cy="238642"/>
            <a:chOff x="5296909" y="2866036"/>
            <a:chExt cx="2731734" cy="349396"/>
          </a:xfrm>
        </p:grpSpPr>
        <p:pic>
          <p:nvPicPr>
            <p:cNvPr id="10" name="object 13">
              <a:extLst>
                <a:ext uri="{FF2B5EF4-FFF2-40B4-BE49-F238E27FC236}">
                  <a16:creationId xmlns:a16="http://schemas.microsoft.com/office/drawing/2014/main" id="{94244016-0B70-B826-7EC1-7482DA639DB3}"/>
                </a:ext>
              </a:extLst>
            </p:cNvPr>
            <p:cNvPicPr/>
            <p:nvPr/>
          </p:nvPicPr>
          <p:blipFill>
            <a:blip r:embed="rId11" cstate="hqprint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 rot="5400000">
              <a:off x="5640603" y="2522342"/>
              <a:ext cx="349394" cy="1036781"/>
            </a:xfrm>
            <a:prstGeom prst="rect">
              <a:avLst/>
            </a:prstGeom>
          </p:spPr>
        </p:pic>
        <p:pic>
          <p:nvPicPr>
            <p:cNvPr id="11" name="object 13">
              <a:extLst>
                <a:ext uri="{FF2B5EF4-FFF2-40B4-BE49-F238E27FC236}">
                  <a16:creationId xmlns:a16="http://schemas.microsoft.com/office/drawing/2014/main" id="{FECBBBE2-16F9-AD6A-C3C4-7812BF261623}"/>
                </a:ext>
              </a:extLst>
            </p:cNvPr>
            <p:cNvPicPr/>
            <p:nvPr/>
          </p:nvPicPr>
          <p:blipFill>
            <a:blip r:embed="rId11" cstate="hqprint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 rot="5400000">
              <a:off x="6488079" y="2522343"/>
              <a:ext cx="349394" cy="1036781"/>
            </a:xfrm>
            <a:prstGeom prst="rect">
              <a:avLst/>
            </a:prstGeom>
          </p:spPr>
        </p:pic>
        <p:pic>
          <p:nvPicPr>
            <p:cNvPr id="19" name="object 13">
              <a:extLst>
                <a:ext uri="{FF2B5EF4-FFF2-40B4-BE49-F238E27FC236}">
                  <a16:creationId xmlns:a16="http://schemas.microsoft.com/office/drawing/2014/main" id="{71E0AA67-EE50-5096-62D1-BCCC9B970204}"/>
                </a:ext>
              </a:extLst>
            </p:cNvPr>
            <p:cNvPicPr/>
            <p:nvPr/>
          </p:nvPicPr>
          <p:blipFill>
            <a:blip r:embed="rId11" cstate="hqprint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 rot="5400000">
              <a:off x="7335556" y="2522344"/>
              <a:ext cx="349394" cy="1036781"/>
            </a:xfrm>
            <a:prstGeom prst="rect">
              <a:avLst/>
            </a:prstGeom>
          </p:spPr>
        </p:pic>
      </p:grpSp>
      <p:sp>
        <p:nvSpPr>
          <p:cNvPr id="9" name="Rectangle 8">
            <a:extLst>
              <a:ext uri="{FF2B5EF4-FFF2-40B4-BE49-F238E27FC236}">
                <a16:creationId xmlns:a16="http://schemas.microsoft.com/office/drawing/2014/main" id="{EDC3F444-52C7-C704-77FC-05202242F9B5}"/>
              </a:ext>
            </a:extLst>
          </p:cNvPr>
          <p:cNvSpPr/>
          <p:nvPr/>
        </p:nvSpPr>
        <p:spPr>
          <a:xfrm>
            <a:off x="5510867" y="1464024"/>
            <a:ext cx="2423475" cy="412223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US" sz="1400" b="1" dirty="0">
                <a:solidFill>
                  <a:schemeClr val="accent1"/>
                </a:solidFill>
              </a:rPr>
              <a:t>Minimum impact </a:t>
            </a:r>
            <a:r>
              <a:rPr lang="en-US" sz="1400" dirty="0">
                <a:solidFill>
                  <a:schemeClr val="accent1"/>
                </a:solidFill>
              </a:rPr>
              <a:t>on:</a:t>
            </a:r>
          </a:p>
        </p:txBody>
      </p:sp>
      <p:grpSp>
        <p:nvGrpSpPr>
          <p:cNvPr id="54" name="Group 53">
            <a:extLst>
              <a:ext uri="{FF2B5EF4-FFF2-40B4-BE49-F238E27FC236}">
                <a16:creationId xmlns:a16="http://schemas.microsoft.com/office/drawing/2014/main" id="{C584F05B-3600-4353-7B3B-2E92CBB196DD}"/>
              </a:ext>
            </a:extLst>
          </p:cNvPr>
          <p:cNvGrpSpPr/>
          <p:nvPr/>
        </p:nvGrpSpPr>
        <p:grpSpPr>
          <a:xfrm>
            <a:off x="4927750" y="1761647"/>
            <a:ext cx="3589709" cy="1117494"/>
            <a:chOff x="4884683" y="1761647"/>
            <a:chExt cx="3589709" cy="1117494"/>
          </a:xfrm>
        </p:grpSpPr>
        <p:sp>
          <p:nvSpPr>
            <p:cNvPr id="48" name="Rectangle 47">
              <a:extLst>
                <a:ext uri="{FF2B5EF4-FFF2-40B4-BE49-F238E27FC236}">
                  <a16:creationId xmlns:a16="http://schemas.microsoft.com/office/drawing/2014/main" id="{06FF4BD2-358A-4787-AD91-F0B076A7223E}"/>
                </a:ext>
              </a:extLst>
            </p:cNvPr>
            <p:cNvSpPr/>
            <p:nvPr/>
          </p:nvSpPr>
          <p:spPr>
            <a:xfrm>
              <a:off x="5284312" y="1824660"/>
              <a:ext cx="3190080" cy="412223"/>
            </a:xfrm>
            <a:prstGeom prst="rect">
              <a:avLst/>
            </a:prstGeom>
            <a:solidFill>
              <a:schemeClr val="accent5">
                <a:lumMod val="20000"/>
                <a:lumOff val="80000"/>
              </a:schemeClr>
            </a:solidFill>
            <a:ln w="9525"/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r>
                <a:rPr lang="en-US" sz="1400" b="1" dirty="0">
                  <a:solidFill>
                    <a:schemeClr val="tx1"/>
                  </a:solidFill>
                </a:rPr>
                <a:t>Travel times</a:t>
              </a:r>
            </a:p>
          </p:txBody>
        </p:sp>
        <p:grpSp>
          <p:nvGrpSpPr>
            <p:cNvPr id="30" name="Group 29">
              <a:extLst>
                <a:ext uri="{FF2B5EF4-FFF2-40B4-BE49-F238E27FC236}">
                  <a16:creationId xmlns:a16="http://schemas.microsoft.com/office/drawing/2014/main" id="{13B06A92-08F3-2EA1-8422-CFB73C819735}"/>
                </a:ext>
              </a:extLst>
            </p:cNvPr>
            <p:cNvGrpSpPr/>
            <p:nvPr/>
          </p:nvGrpSpPr>
          <p:grpSpPr>
            <a:xfrm>
              <a:off x="4884683" y="1761647"/>
              <a:ext cx="538248" cy="538965"/>
              <a:chOff x="4893562" y="2305007"/>
              <a:chExt cx="538248" cy="538965"/>
            </a:xfrm>
          </p:grpSpPr>
          <p:sp>
            <p:nvSpPr>
              <p:cNvPr id="27" name="Oval 26">
                <a:extLst>
                  <a:ext uri="{FF2B5EF4-FFF2-40B4-BE49-F238E27FC236}">
                    <a16:creationId xmlns:a16="http://schemas.microsoft.com/office/drawing/2014/main" id="{D8FCC44A-6799-7297-3313-43E9FB1A1C69}"/>
                  </a:ext>
                </a:extLst>
              </p:cNvPr>
              <p:cNvSpPr/>
              <p:nvPr/>
            </p:nvSpPr>
            <p:spPr>
              <a:xfrm>
                <a:off x="4893562" y="2305007"/>
                <a:ext cx="537385" cy="538965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it-IT"/>
              </a:p>
            </p:txBody>
          </p:sp>
          <p:sp>
            <p:nvSpPr>
              <p:cNvPr id="13" name="Freeform 444">
                <a:extLst>
                  <a:ext uri="{FF2B5EF4-FFF2-40B4-BE49-F238E27FC236}">
                    <a16:creationId xmlns:a16="http://schemas.microsoft.com/office/drawing/2014/main" id="{BBC1787B-4E71-EFBD-5B0F-B37820673E3C}"/>
                  </a:ext>
                </a:extLst>
              </p:cNvPr>
              <p:cNvSpPr>
                <a:spLocks noChangeAspect="1" noEditPoints="1"/>
              </p:cNvSpPr>
              <p:nvPr/>
            </p:nvSpPr>
            <p:spPr bwMode="auto">
              <a:xfrm>
                <a:off x="4893562" y="2305007"/>
                <a:ext cx="538248" cy="538248"/>
              </a:xfrm>
              <a:custGeom>
                <a:avLst/>
                <a:gdLst>
                  <a:gd name="T0" fmla="*/ 281 w 512"/>
                  <a:gd name="T1" fmla="*/ 209 h 512"/>
                  <a:gd name="T2" fmla="*/ 266 w 512"/>
                  <a:gd name="T3" fmla="*/ 256 h 512"/>
                  <a:gd name="T4" fmla="*/ 271 w 512"/>
                  <a:gd name="T5" fmla="*/ 282 h 512"/>
                  <a:gd name="T6" fmla="*/ 271 w 512"/>
                  <a:gd name="T7" fmla="*/ 283 h 512"/>
                  <a:gd name="T8" fmla="*/ 274 w 512"/>
                  <a:gd name="T9" fmla="*/ 291 h 512"/>
                  <a:gd name="T10" fmla="*/ 281 w 512"/>
                  <a:gd name="T11" fmla="*/ 304 h 512"/>
                  <a:gd name="T12" fmla="*/ 290 w 512"/>
                  <a:gd name="T13" fmla="*/ 320 h 512"/>
                  <a:gd name="T14" fmla="*/ 222 w 512"/>
                  <a:gd name="T15" fmla="*/ 320 h 512"/>
                  <a:gd name="T16" fmla="*/ 230 w 512"/>
                  <a:gd name="T17" fmla="*/ 304 h 512"/>
                  <a:gd name="T18" fmla="*/ 237 w 512"/>
                  <a:gd name="T19" fmla="*/ 291 h 512"/>
                  <a:gd name="T20" fmla="*/ 240 w 512"/>
                  <a:gd name="T21" fmla="*/ 283 h 512"/>
                  <a:gd name="T22" fmla="*/ 241 w 512"/>
                  <a:gd name="T23" fmla="*/ 282 h 512"/>
                  <a:gd name="T24" fmla="*/ 245 w 512"/>
                  <a:gd name="T25" fmla="*/ 256 h 512"/>
                  <a:gd name="T26" fmla="*/ 231 w 512"/>
                  <a:gd name="T27" fmla="*/ 209 h 512"/>
                  <a:gd name="T28" fmla="*/ 202 w 512"/>
                  <a:gd name="T29" fmla="*/ 149 h 512"/>
                  <a:gd name="T30" fmla="*/ 202 w 512"/>
                  <a:gd name="T31" fmla="*/ 117 h 512"/>
                  <a:gd name="T32" fmla="*/ 309 w 512"/>
                  <a:gd name="T33" fmla="*/ 117 h 512"/>
                  <a:gd name="T34" fmla="*/ 309 w 512"/>
                  <a:gd name="T35" fmla="*/ 149 h 512"/>
                  <a:gd name="T36" fmla="*/ 281 w 512"/>
                  <a:gd name="T37" fmla="*/ 209 h 512"/>
                  <a:gd name="T38" fmla="*/ 512 w 512"/>
                  <a:gd name="T39" fmla="*/ 256 h 512"/>
                  <a:gd name="T40" fmla="*/ 256 w 512"/>
                  <a:gd name="T41" fmla="*/ 512 h 512"/>
                  <a:gd name="T42" fmla="*/ 0 w 512"/>
                  <a:gd name="T43" fmla="*/ 256 h 512"/>
                  <a:gd name="T44" fmla="*/ 256 w 512"/>
                  <a:gd name="T45" fmla="*/ 0 h 512"/>
                  <a:gd name="T46" fmla="*/ 512 w 512"/>
                  <a:gd name="T47" fmla="*/ 256 h 512"/>
                  <a:gd name="T48" fmla="*/ 288 w 512"/>
                  <a:gd name="T49" fmla="*/ 256 h 512"/>
                  <a:gd name="T50" fmla="*/ 299 w 512"/>
                  <a:gd name="T51" fmla="*/ 220 h 512"/>
                  <a:gd name="T52" fmla="*/ 330 w 512"/>
                  <a:gd name="T53" fmla="*/ 149 h 512"/>
                  <a:gd name="T54" fmla="*/ 330 w 512"/>
                  <a:gd name="T55" fmla="*/ 117 h 512"/>
                  <a:gd name="T56" fmla="*/ 341 w 512"/>
                  <a:gd name="T57" fmla="*/ 106 h 512"/>
                  <a:gd name="T58" fmla="*/ 330 w 512"/>
                  <a:gd name="T59" fmla="*/ 96 h 512"/>
                  <a:gd name="T60" fmla="*/ 181 w 512"/>
                  <a:gd name="T61" fmla="*/ 96 h 512"/>
                  <a:gd name="T62" fmla="*/ 170 w 512"/>
                  <a:gd name="T63" fmla="*/ 106 h 512"/>
                  <a:gd name="T64" fmla="*/ 181 w 512"/>
                  <a:gd name="T65" fmla="*/ 117 h 512"/>
                  <a:gd name="T66" fmla="*/ 181 w 512"/>
                  <a:gd name="T67" fmla="*/ 149 h 512"/>
                  <a:gd name="T68" fmla="*/ 213 w 512"/>
                  <a:gd name="T69" fmla="*/ 220 h 512"/>
                  <a:gd name="T70" fmla="*/ 224 w 512"/>
                  <a:gd name="T71" fmla="*/ 256 h 512"/>
                  <a:gd name="T72" fmla="*/ 212 w 512"/>
                  <a:gd name="T73" fmla="*/ 293 h 512"/>
                  <a:gd name="T74" fmla="*/ 181 w 512"/>
                  <a:gd name="T75" fmla="*/ 362 h 512"/>
                  <a:gd name="T76" fmla="*/ 181 w 512"/>
                  <a:gd name="T77" fmla="*/ 394 h 512"/>
                  <a:gd name="T78" fmla="*/ 170 w 512"/>
                  <a:gd name="T79" fmla="*/ 405 h 512"/>
                  <a:gd name="T80" fmla="*/ 181 w 512"/>
                  <a:gd name="T81" fmla="*/ 416 h 512"/>
                  <a:gd name="T82" fmla="*/ 330 w 512"/>
                  <a:gd name="T83" fmla="*/ 416 h 512"/>
                  <a:gd name="T84" fmla="*/ 341 w 512"/>
                  <a:gd name="T85" fmla="*/ 405 h 512"/>
                  <a:gd name="T86" fmla="*/ 330 w 512"/>
                  <a:gd name="T87" fmla="*/ 394 h 512"/>
                  <a:gd name="T88" fmla="*/ 330 w 512"/>
                  <a:gd name="T89" fmla="*/ 362 h 512"/>
                  <a:gd name="T90" fmla="*/ 299 w 512"/>
                  <a:gd name="T91" fmla="*/ 293 h 512"/>
                  <a:gd name="T92" fmla="*/ 288 w 512"/>
                  <a:gd name="T93" fmla="*/ 256 h 512"/>
                  <a:gd name="T94" fmla="*/ 202 w 512"/>
                  <a:gd name="T95" fmla="*/ 363 h 512"/>
                  <a:gd name="T96" fmla="*/ 202 w 512"/>
                  <a:gd name="T97" fmla="*/ 394 h 512"/>
                  <a:gd name="T98" fmla="*/ 309 w 512"/>
                  <a:gd name="T99" fmla="*/ 394 h 512"/>
                  <a:gd name="T100" fmla="*/ 309 w 512"/>
                  <a:gd name="T101" fmla="*/ 363 h 512"/>
                  <a:gd name="T102" fmla="*/ 300 w 512"/>
                  <a:gd name="T103" fmla="*/ 341 h 512"/>
                  <a:gd name="T104" fmla="*/ 211 w 512"/>
                  <a:gd name="T105" fmla="*/ 341 h 512"/>
                  <a:gd name="T106" fmla="*/ 202 w 512"/>
                  <a:gd name="T107" fmla="*/ 363 h 5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512" h="512">
                    <a:moveTo>
                      <a:pt x="281" y="209"/>
                    </a:moveTo>
                    <a:cubicBezTo>
                      <a:pt x="271" y="222"/>
                      <a:pt x="266" y="238"/>
                      <a:pt x="266" y="256"/>
                    </a:cubicBezTo>
                    <a:cubicBezTo>
                      <a:pt x="266" y="265"/>
                      <a:pt x="268" y="273"/>
                      <a:pt x="271" y="282"/>
                    </a:cubicBezTo>
                    <a:cubicBezTo>
                      <a:pt x="271" y="282"/>
                      <a:pt x="271" y="283"/>
                      <a:pt x="271" y="283"/>
                    </a:cubicBezTo>
                    <a:cubicBezTo>
                      <a:pt x="272" y="286"/>
                      <a:pt x="273" y="289"/>
                      <a:pt x="274" y="291"/>
                    </a:cubicBezTo>
                    <a:cubicBezTo>
                      <a:pt x="276" y="296"/>
                      <a:pt x="278" y="300"/>
                      <a:pt x="281" y="304"/>
                    </a:cubicBezTo>
                    <a:cubicBezTo>
                      <a:pt x="284" y="309"/>
                      <a:pt x="287" y="314"/>
                      <a:pt x="290" y="320"/>
                    </a:cubicBezTo>
                    <a:cubicBezTo>
                      <a:pt x="222" y="320"/>
                      <a:pt x="222" y="320"/>
                      <a:pt x="222" y="320"/>
                    </a:cubicBezTo>
                    <a:cubicBezTo>
                      <a:pt x="225" y="314"/>
                      <a:pt x="227" y="309"/>
                      <a:pt x="230" y="304"/>
                    </a:cubicBezTo>
                    <a:cubicBezTo>
                      <a:pt x="233" y="300"/>
                      <a:pt x="235" y="296"/>
                      <a:pt x="237" y="291"/>
                    </a:cubicBezTo>
                    <a:cubicBezTo>
                      <a:pt x="238" y="289"/>
                      <a:pt x="239" y="286"/>
                      <a:pt x="240" y="283"/>
                    </a:cubicBezTo>
                    <a:cubicBezTo>
                      <a:pt x="240" y="283"/>
                      <a:pt x="241" y="282"/>
                      <a:pt x="241" y="282"/>
                    </a:cubicBezTo>
                    <a:cubicBezTo>
                      <a:pt x="244" y="273"/>
                      <a:pt x="245" y="265"/>
                      <a:pt x="245" y="256"/>
                    </a:cubicBezTo>
                    <a:cubicBezTo>
                      <a:pt x="245" y="238"/>
                      <a:pt x="240" y="222"/>
                      <a:pt x="231" y="209"/>
                    </a:cubicBezTo>
                    <a:cubicBezTo>
                      <a:pt x="218" y="185"/>
                      <a:pt x="203" y="155"/>
                      <a:pt x="202" y="149"/>
                    </a:cubicBezTo>
                    <a:cubicBezTo>
                      <a:pt x="202" y="117"/>
                      <a:pt x="202" y="117"/>
                      <a:pt x="202" y="117"/>
                    </a:cubicBezTo>
                    <a:cubicBezTo>
                      <a:pt x="309" y="117"/>
                      <a:pt x="309" y="117"/>
                      <a:pt x="309" y="117"/>
                    </a:cubicBezTo>
                    <a:cubicBezTo>
                      <a:pt x="309" y="149"/>
                      <a:pt x="309" y="149"/>
                      <a:pt x="309" y="149"/>
                    </a:cubicBezTo>
                    <a:cubicBezTo>
                      <a:pt x="309" y="155"/>
                      <a:pt x="294" y="185"/>
                      <a:pt x="281" y="209"/>
                    </a:cubicBezTo>
                    <a:close/>
                    <a:moveTo>
                      <a:pt x="512" y="256"/>
                    </a:moveTo>
                    <a:cubicBezTo>
                      <a:pt x="512" y="397"/>
                      <a:pt x="397" y="512"/>
                      <a:pt x="256" y="512"/>
                    </a:cubicBezTo>
                    <a:cubicBezTo>
                      <a:pt x="114" y="512"/>
                      <a:pt x="0" y="397"/>
                      <a:pt x="0" y="256"/>
                    </a:cubicBezTo>
                    <a:cubicBezTo>
                      <a:pt x="0" y="114"/>
                      <a:pt x="114" y="0"/>
                      <a:pt x="256" y="0"/>
                    </a:cubicBezTo>
                    <a:cubicBezTo>
                      <a:pt x="397" y="0"/>
                      <a:pt x="512" y="114"/>
                      <a:pt x="512" y="256"/>
                    </a:cubicBezTo>
                    <a:close/>
                    <a:moveTo>
                      <a:pt x="288" y="256"/>
                    </a:moveTo>
                    <a:cubicBezTo>
                      <a:pt x="288" y="243"/>
                      <a:pt x="292" y="230"/>
                      <a:pt x="299" y="220"/>
                    </a:cubicBezTo>
                    <a:cubicBezTo>
                      <a:pt x="313" y="193"/>
                      <a:pt x="330" y="160"/>
                      <a:pt x="330" y="149"/>
                    </a:cubicBezTo>
                    <a:cubicBezTo>
                      <a:pt x="330" y="117"/>
                      <a:pt x="330" y="117"/>
                      <a:pt x="330" y="117"/>
                    </a:cubicBezTo>
                    <a:cubicBezTo>
                      <a:pt x="336" y="117"/>
                      <a:pt x="341" y="112"/>
                      <a:pt x="341" y="106"/>
                    </a:cubicBezTo>
                    <a:cubicBezTo>
                      <a:pt x="341" y="100"/>
                      <a:pt x="336" y="96"/>
                      <a:pt x="330" y="96"/>
                    </a:cubicBezTo>
                    <a:cubicBezTo>
                      <a:pt x="181" y="96"/>
                      <a:pt x="181" y="96"/>
                      <a:pt x="181" y="96"/>
                    </a:cubicBezTo>
                    <a:cubicBezTo>
                      <a:pt x="175" y="96"/>
                      <a:pt x="170" y="100"/>
                      <a:pt x="170" y="106"/>
                    </a:cubicBezTo>
                    <a:cubicBezTo>
                      <a:pt x="170" y="112"/>
                      <a:pt x="175" y="117"/>
                      <a:pt x="181" y="117"/>
                    </a:cubicBezTo>
                    <a:cubicBezTo>
                      <a:pt x="181" y="149"/>
                      <a:pt x="181" y="149"/>
                      <a:pt x="181" y="149"/>
                    </a:cubicBezTo>
                    <a:cubicBezTo>
                      <a:pt x="181" y="160"/>
                      <a:pt x="198" y="193"/>
                      <a:pt x="213" y="220"/>
                    </a:cubicBezTo>
                    <a:cubicBezTo>
                      <a:pt x="220" y="230"/>
                      <a:pt x="224" y="243"/>
                      <a:pt x="224" y="256"/>
                    </a:cubicBezTo>
                    <a:cubicBezTo>
                      <a:pt x="224" y="256"/>
                      <a:pt x="220" y="281"/>
                      <a:pt x="212" y="293"/>
                    </a:cubicBezTo>
                    <a:cubicBezTo>
                      <a:pt x="198" y="319"/>
                      <a:pt x="181" y="352"/>
                      <a:pt x="181" y="362"/>
                    </a:cubicBezTo>
                    <a:cubicBezTo>
                      <a:pt x="181" y="394"/>
                      <a:pt x="181" y="394"/>
                      <a:pt x="181" y="394"/>
                    </a:cubicBezTo>
                    <a:cubicBezTo>
                      <a:pt x="175" y="394"/>
                      <a:pt x="170" y="399"/>
                      <a:pt x="170" y="405"/>
                    </a:cubicBezTo>
                    <a:cubicBezTo>
                      <a:pt x="170" y="411"/>
                      <a:pt x="175" y="416"/>
                      <a:pt x="181" y="416"/>
                    </a:cubicBezTo>
                    <a:cubicBezTo>
                      <a:pt x="330" y="416"/>
                      <a:pt x="330" y="416"/>
                      <a:pt x="330" y="416"/>
                    </a:cubicBezTo>
                    <a:cubicBezTo>
                      <a:pt x="336" y="416"/>
                      <a:pt x="341" y="411"/>
                      <a:pt x="341" y="405"/>
                    </a:cubicBezTo>
                    <a:cubicBezTo>
                      <a:pt x="341" y="399"/>
                      <a:pt x="336" y="394"/>
                      <a:pt x="330" y="394"/>
                    </a:cubicBezTo>
                    <a:cubicBezTo>
                      <a:pt x="330" y="362"/>
                      <a:pt x="330" y="362"/>
                      <a:pt x="330" y="362"/>
                    </a:cubicBezTo>
                    <a:cubicBezTo>
                      <a:pt x="330" y="352"/>
                      <a:pt x="313" y="319"/>
                      <a:pt x="299" y="293"/>
                    </a:cubicBezTo>
                    <a:cubicBezTo>
                      <a:pt x="292" y="281"/>
                      <a:pt x="288" y="256"/>
                      <a:pt x="288" y="256"/>
                    </a:cubicBezTo>
                    <a:close/>
                    <a:moveTo>
                      <a:pt x="202" y="363"/>
                    </a:moveTo>
                    <a:cubicBezTo>
                      <a:pt x="202" y="394"/>
                      <a:pt x="202" y="394"/>
                      <a:pt x="202" y="394"/>
                    </a:cubicBezTo>
                    <a:cubicBezTo>
                      <a:pt x="309" y="394"/>
                      <a:pt x="309" y="394"/>
                      <a:pt x="309" y="394"/>
                    </a:cubicBezTo>
                    <a:cubicBezTo>
                      <a:pt x="309" y="363"/>
                      <a:pt x="309" y="363"/>
                      <a:pt x="309" y="363"/>
                    </a:cubicBezTo>
                    <a:cubicBezTo>
                      <a:pt x="309" y="360"/>
                      <a:pt x="305" y="351"/>
                      <a:pt x="300" y="341"/>
                    </a:cubicBezTo>
                    <a:cubicBezTo>
                      <a:pt x="211" y="341"/>
                      <a:pt x="211" y="341"/>
                      <a:pt x="211" y="341"/>
                    </a:cubicBezTo>
                    <a:cubicBezTo>
                      <a:pt x="206" y="351"/>
                      <a:pt x="203" y="360"/>
                      <a:pt x="202" y="363"/>
                    </a:cubicBez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330666A5-3EFA-8CCE-9045-C5EF81532505}"/>
                </a:ext>
              </a:extLst>
            </p:cNvPr>
            <p:cNvSpPr/>
            <p:nvPr/>
          </p:nvSpPr>
          <p:spPr>
            <a:xfrm>
              <a:off x="5284312" y="2403547"/>
              <a:ext cx="3190080" cy="412223"/>
            </a:xfrm>
            <a:prstGeom prst="rect">
              <a:avLst/>
            </a:prstGeom>
            <a:solidFill>
              <a:schemeClr val="accent5">
                <a:lumMod val="20000"/>
                <a:lumOff val="80000"/>
              </a:schemeClr>
            </a:solidFill>
            <a:ln w="9525"/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r>
                <a:rPr lang="en-US" sz="1400" b="1" dirty="0">
                  <a:solidFill>
                    <a:schemeClr val="tx1"/>
                  </a:solidFill>
                </a:rPr>
                <a:t>Emissions </a:t>
              </a:r>
            </a:p>
            <a:p>
              <a:pPr algn="ctr"/>
              <a:r>
                <a:rPr lang="en-US" sz="1200" dirty="0">
                  <a:solidFill>
                    <a:schemeClr val="tx1"/>
                  </a:solidFill>
                </a:rPr>
                <a:t>(vehicles today)</a:t>
              </a:r>
            </a:p>
          </p:txBody>
        </p:sp>
        <p:grpSp>
          <p:nvGrpSpPr>
            <p:cNvPr id="29" name="Group 28">
              <a:extLst>
                <a:ext uri="{FF2B5EF4-FFF2-40B4-BE49-F238E27FC236}">
                  <a16:creationId xmlns:a16="http://schemas.microsoft.com/office/drawing/2014/main" id="{5ED88EF6-C5F0-7AC3-4420-5855F8484CFC}"/>
                </a:ext>
              </a:extLst>
            </p:cNvPr>
            <p:cNvGrpSpPr/>
            <p:nvPr/>
          </p:nvGrpSpPr>
          <p:grpSpPr>
            <a:xfrm>
              <a:off x="4884683" y="2340176"/>
              <a:ext cx="537385" cy="538965"/>
              <a:chOff x="7112145" y="2032742"/>
              <a:chExt cx="537385" cy="538965"/>
            </a:xfrm>
          </p:grpSpPr>
          <p:sp>
            <p:nvSpPr>
              <p:cNvPr id="23" name="Oval 22">
                <a:extLst>
                  <a:ext uri="{FF2B5EF4-FFF2-40B4-BE49-F238E27FC236}">
                    <a16:creationId xmlns:a16="http://schemas.microsoft.com/office/drawing/2014/main" id="{8430D17F-BC7B-B02C-2925-D14CCE496F6E}"/>
                  </a:ext>
                </a:extLst>
              </p:cNvPr>
              <p:cNvSpPr/>
              <p:nvPr/>
            </p:nvSpPr>
            <p:spPr>
              <a:xfrm>
                <a:off x="7112145" y="2032742"/>
                <a:ext cx="537385" cy="538965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it-IT"/>
              </a:p>
            </p:txBody>
          </p:sp>
          <p:sp>
            <p:nvSpPr>
              <p:cNvPr id="14" name="Freeform 496">
                <a:extLst>
                  <a:ext uri="{FF2B5EF4-FFF2-40B4-BE49-F238E27FC236}">
                    <a16:creationId xmlns:a16="http://schemas.microsoft.com/office/drawing/2014/main" id="{621A45E0-2309-2CDC-04FF-2DF5C83499C3}"/>
                  </a:ext>
                </a:extLst>
              </p:cNvPr>
              <p:cNvSpPr>
                <a:spLocks noChangeAspect="1" noEditPoints="1"/>
              </p:cNvSpPr>
              <p:nvPr/>
            </p:nvSpPr>
            <p:spPr bwMode="auto">
              <a:xfrm>
                <a:off x="7112145" y="2032742"/>
                <a:ext cx="537385" cy="538965"/>
              </a:xfrm>
              <a:custGeom>
                <a:avLst/>
                <a:gdLst>
                  <a:gd name="T0" fmla="*/ 254 w 512"/>
                  <a:gd name="T1" fmla="*/ 191 h 512"/>
                  <a:gd name="T2" fmla="*/ 195 w 512"/>
                  <a:gd name="T3" fmla="*/ 206 h 512"/>
                  <a:gd name="T4" fmla="*/ 165 w 512"/>
                  <a:gd name="T5" fmla="*/ 258 h 512"/>
                  <a:gd name="T6" fmla="*/ 187 w 512"/>
                  <a:gd name="T7" fmla="*/ 316 h 512"/>
                  <a:gd name="T8" fmla="*/ 299 w 512"/>
                  <a:gd name="T9" fmla="*/ 313 h 512"/>
                  <a:gd name="T10" fmla="*/ 349 w 512"/>
                  <a:gd name="T11" fmla="*/ 165 h 512"/>
                  <a:gd name="T12" fmla="*/ 254 w 512"/>
                  <a:gd name="T13" fmla="*/ 191 h 512"/>
                  <a:gd name="T14" fmla="*/ 291 w 512"/>
                  <a:gd name="T15" fmla="*/ 237 h 512"/>
                  <a:gd name="T16" fmla="*/ 216 w 512"/>
                  <a:gd name="T17" fmla="*/ 298 h 512"/>
                  <a:gd name="T18" fmla="*/ 206 w 512"/>
                  <a:gd name="T19" fmla="*/ 305 h 512"/>
                  <a:gd name="T20" fmla="*/ 202 w 512"/>
                  <a:gd name="T21" fmla="*/ 304 h 512"/>
                  <a:gd name="T22" fmla="*/ 196 w 512"/>
                  <a:gd name="T23" fmla="*/ 291 h 512"/>
                  <a:gd name="T24" fmla="*/ 288 w 512"/>
                  <a:gd name="T25" fmla="*/ 216 h 512"/>
                  <a:gd name="T26" fmla="*/ 300 w 512"/>
                  <a:gd name="T27" fmla="*/ 225 h 512"/>
                  <a:gd name="T28" fmla="*/ 291 w 512"/>
                  <a:gd name="T29" fmla="*/ 237 h 512"/>
                  <a:gd name="T30" fmla="*/ 256 w 512"/>
                  <a:gd name="T31" fmla="*/ 0 h 512"/>
                  <a:gd name="T32" fmla="*/ 0 w 512"/>
                  <a:gd name="T33" fmla="*/ 256 h 512"/>
                  <a:gd name="T34" fmla="*/ 256 w 512"/>
                  <a:gd name="T35" fmla="*/ 512 h 512"/>
                  <a:gd name="T36" fmla="*/ 512 w 512"/>
                  <a:gd name="T37" fmla="*/ 256 h 512"/>
                  <a:gd name="T38" fmla="*/ 256 w 512"/>
                  <a:gd name="T39" fmla="*/ 0 h 512"/>
                  <a:gd name="T40" fmla="*/ 314 w 512"/>
                  <a:gd name="T41" fmla="*/ 328 h 512"/>
                  <a:gd name="T42" fmla="*/ 240 w 512"/>
                  <a:gd name="T43" fmla="*/ 360 h 512"/>
                  <a:gd name="T44" fmla="*/ 179 w 512"/>
                  <a:gd name="T45" fmla="*/ 338 h 512"/>
                  <a:gd name="T46" fmla="*/ 161 w 512"/>
                  <a:gd name="T47" fmla="*/ 365 h 512"/>
                  <a:gd name="T48" fmla="*/ 151 w 512"/>
                  <a:gd name="T49" fmla="*/ 376 h 512"/>
                  <a:gd name="T50" fmla="*/ 151 w 512"/>
                  <a:gd name="T51" fmla="*/ 376 h 512"/>
                  <a:gd name="T52" fmla="*/ 140 w 512"/>
                  <a:gd name="T53" fmla="*/ 365 h 512"/>
                  <a:gd name="T54" fmla="*/ 164 w 512"/>
                  <a:gd name="T55" fmla="*/ 323 h 512"/>
                  <a:gd name="T56" fmla="*/ 144 w 512"/>
                  <a:gd name="T57" fmla="*/ 256 h 512"/>
                  <a:gd name="T58" fmla="*/ 182 w 512"/>
                  <a:gd name="T59" fmla="*/ 189 h 512"/>
                  <a:gd name="T60" fmla="*/ 253 w 512"/>
                  <a:gd name="T61" fmla="*/ 170 h 512"/>
                  <a:gd name="T62" fmla="*/ 350 w 512"/>
                  <a:gd name="T63" fmla="*/ 138 h 512"/>
                  <a:gd name="T64" fmla="*/ 361 w 512"/>
                  <a:gd name="T65" fmla="*/ 136 h 512"/>
                  <a:gd name="T66" fmla="*/ 367 w 512"/>
                  <a:gd name="T67" fmla="*/ 144 h 512"/>
                  <a:gd name="T68" fmla="*/ 314 w 512"/>
                  <a:gd name="T69" fmla="*/ 328 h 5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512" h="512">
                    <a:moveTo>
                      <a:pt x="254" y="191"/>
                    </a:moveTo>
                    <a:cubicBezTo>
                      <a:pt x="231" y="192"/>
                      <a:pt x="214" y="193"/>
                      <a:pt x="195" y="206"/>
                    </a:cubicBezTo>
                    <a:cubicBezTo>
                      <a:pt x="178" y="218"/>
                      <a:pt x="167" y="237"/>
                      <a:pt x="165" y="258"/>
                    </a:cubicBezTo>
                    <a:cubicBezTo>
                      <a:pt x="164" y="280"/>
                      <a:pt x="171" y="301"/>
                      <a:pt x="187" y="316"/>
                    </a:cubicBezTo>
                    <a:cubicBezTo>
                      <a:pt x="218" y="348"/>
                      <a:pt x="266" y="346"/>
                      <a:pt x="299" y="313"/>
                    </a:cubicBezTo>
                    <a:cubicBezTo>
                      <a:pt x="330" y="283"/>
                      <a:pt x="355" y="224"/>
                      <a:pt x="349" y="165"/>
                    </a:cubicBezTo>
                    <a:cubicBezTo>
                      <a:pt x="311" y="189"/>
                      <a:pt x="281" y="191"/>
                      <a:pt x="254" y="191"/>
                    </a:cubicBezTo>
                    <a:close/>
                    <a:moveTo>
                      <a:pt x="291" y="237"/>
                    </a:moveTo>
                    <a:cubicBezTo>
                      <a:pt x="237" y="247"/>
                      <a:pt x="216" y="298"/>
                      <a:pt x="216" y="298"/>
                    </a:cubicBezTo>
                    <a:cubicBezTo>
                      <a:pt x="215" y="303"/>
                      <a:pt x="211" y="305"/>
                      <a:pt x="206" y="305"/>
                    </a:cubicBezTo>
                    <a:cubicBezTo>
                      <a:pt x="205" y="305"/>
                      <a:pt x="204" y="305"/>
                      <a:pt x="202" y="304"/>
                    </a:cubicBezTo>
                    <a:cubicBezTo>
                      <a:pt x="197" y="302"/>
                      <a:pt x="194" y="296"/>
                      <a:pt x="196" y="291"/>
                    </a:cubicBezTo>
                    <a:cubicBezTo>
                      <a:pt x="197" y="288"/>
                      <a:pt x="221" y="228"/>
                      <a:pt x="288" y="216"/>
                    </a:cubicBezTo>
                    <a:cubicBezTo>
                      <a:pt x="294" y="215"/>
                      <a:pt x="299" y="219"/>
                      <a:pt x="300" y="225"/>
                    </a:cubicBezTo>
                    <a:cubicBezTo>
                      <a:pt x="301" y="230"/>
                      <a:pt x="297" y="236"/>
                      <a:pt x="291" y="237"/>
                    </a:cubicBezTo>
                    <a:close/>
                    <a:moveTo>
                      <a:pt x="256" y="0"/>
                    </a:moveTo>
                    <a:cubicBezTo>
                      <a:pt x="114" y="0"/>
                      <a:pt x="0" y="114"/>
                      <a:pt x="0" y="256"/>
                    </a:cubicBezTo>
                    <a:cubicBezTo>
                      <a:pt x="0" y="397"/>
                      <a:pt x="114" y="512"/>
                      <a:pt x="256" y="512"/>
                    </a:cubicBezTo>
                    <a:cubicBezTo>
                      <a:pt x="397" y="512"/>
                      <a:pt x="512" y="397"/>
                      <a:pt x="512" y="256"/>
                    </a:cubicBezTo>
                    <a:cubicBezTo>
                      <a:pt x="512" y="114"/>
                      <a:pt x="397" y="0"/>
                      <a:pt x="256" y="0"/>
                    </a:cubicBezTo>
                    <a:close/>
                    <a:moveTo>
                      <a:pt x="314" y="328"/>
                    </a:moveTo>
                    <a:cubicBezTo>
                      <a:pt x="293" y="349"/>
                      <a:pt x="267" y="360"/>
                      <a:pt x="240" y="360"/>
                    </a:cubicBezTo>
                    <a:cubicBezTo>
                      <a:pt x="218" y="360"/>
                      <a:pt x="197" y="353"/>
                      <a:pt x="179" y="338"/>
                    </a:cubicBezTo>
                    <a:cubicBezTo>
                      <a:pt x="162" y="353"/>
                      <a:pt x="162" y="365"/>
                      <a:pt x="161" y="365"/>
                    </a:cubicBezTo>
                    <a:cubicBezTo>
                      <a:pt x="161" y="371"/>
                      <a:pt x="157" y="376"/>
                      <a:pt x="151" y="376"/>
                    </a:cubicBezTo>
                    <a:cubicBezTo>
                      <a:pt x="151" y="376"/>
                      <a:pt x="151" y="376"/>
                      <a:pt x="151" y="376"/>
                    </a:cubicBezTo>
                    <a:cubicBezTo>
                      <a:pt x="145" y="376"/>
                      <a:pt x="140" y="371"/>
                      <a:pt x="140" y="365"/>
                    </a:cubicBezTo>
                    <a:cubicBezTo>
                      <a:pt x="140" y="363"/>
                      <a:pt x="141" y="344"/>
                      <a:pt x="164" y="323"/>
                    </a:cubicBezTo>
                    <a:cubicBezTo>
                      <a:pt x="149" y="304"/>
                      <a:pt x="142" y="280"/>
                      <a:pt x="144" y="256"/>
                    </a:cubicBezTo>
                    <a:cubicBezTo>
                      <a:pt x="146" y="229"/>
                      <a:pt x="160" y="204"/>
                      <a:pt x="182" y="189"/>
                    </a:cubicBezTo>
                    <a:cubicBezTo>
                      <a:pt x="207" y="172"/>
                      <a:pt x="230" y="171"/>
                      <a:pt x="253" y="170"/>
                    </a:cubicBezTo>
                    <a:cubicBezTo>
                      <a:pt x="281" y="169"/>
                      <a:pt x="311" y="168"/>
                      <a:pt x="350" y="138"/>
                    </a:cubicBezTo>
                    <a:cubicBezTo>
                      <a:pt x="353" y="135"/>
                      <a:pt x="357" y="135"/>
                      <a:pt x="361" y="136"/>
                    </a:cubicBezTo>
                    <a:cubicBezTo>
                      <a:pt x="364" y="137"/>
                      <a:pt x="366" y="140"/>
                      <a:pt x="367" y="144"/>
                    </a:cubicBezTo>
                    <a:cubicBezTo>
                      <a:pt x="382" y="215"/>
                      <a:pt x="352" y="291"/>
                      <a:pt x="314" y="328"/>
                    </a:cubicBez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</p:grpSp>
      <p:pic>
        <p:nvPicPr>
          <p:cNvPr id="53" name="Picture 52" descr="A black and white icon of hands holding a shield&#10;&#10;Description automatically generated">
            <a:extLst>
              <a:ext uri="{FF2B5EF4-FFF2-40B4-BE49-F238E27FC236}">
                <a16:creationId xmlns:a16="http://schemas.microsoft.com/office/drawing/2014/main" id="{E1BF289A-D96B-3B8D-672E-4CE5677E5071}"/>
              </a:ext>
            </a:extLst>
          </p:cNvPr>
          <p:cNvPicPr>
            <a:picLocks noChangeAspect="1"/>
          </p:cNvPicPr>
          <p:nvPr/>
        </p:nvPicPr>
        <p:blipFill>
          <a:blip r:embed="rId1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42902" y="3469947"/>
            <a:ext cx="749150" cy="7050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6483505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DAA1F63F-0CC6-DB72-2A8E-8EDC81DEE17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237320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AA1F63F-0CC6-DB72-2A8E-8EDC81DEE17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7" name="Group 56">
            <a:extLst>
              <a:ext uri="{FF2B5EF4-FFF2-40B4-BE49-F238E27FC236}">
                <a16:creationId xmlns:a16="http://schemas.microsoft.com/office/drawing/2014/main" id="{8A67805C-40B3-3EB5-29E4-F8E643CD6EA1}"/>
              </a:ext>
            </a:extLst>
          </p:cNvPr>
          <p:cNvGrpSpPr/>
          <p:nvPr/>
        </p:nvGrpSpPr>
        <p:grpSpPr>
          <a:xfrm>
            <a:off x="0" y="480916"/>
            <a:ext cx="9144000" cy="4186430"/>
            <a:chOff x="-10512" y="1054048"/>
            <a:chExt cx="12192000" cy="5065579"/>
          </a:xfrm>
        </p:grpSpPr>
        <p:pic>
          <p:nvPicPr>
            <p:cNvPr id="58" name="Picture 4" descr="Immagine correlata">
              <a:extLst>
                <a:ext uri="{FF2B5EF4-FFF2-40B4-BE49-F238E27FC236}">
                  <a16:creationId xmlns:a16="http://schemas.microsoft.com/office/drawing/2014/main" id="{DA637948-081E-5E52-67A7-C6B817EF0EE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 cstate="email">
              <a:duotone>
                <a:schemeClr val="bg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-10512" y="1058117"/>
              <a:ext cx="12192000" cy="5057442"/>
            </a:xfrm>
            <a:prstGeom prst="rect">
              <a:avLst/>
            </a:prstGeom>
            <a:noFill/>
          </p:spPr>
        </p:pic>
        <p:sp>
          <p:nvSpPr>
            <p:cNvPr id="59" name="Rectangle 58">
              <a:extLst>
                <a:ext uri="{FF2B5EF4-FFF2-40B4-BE49-F238E27FC236}">
                  <a16:creationId xmlns:a16="http://schemas.microsoft.com/office/drawing/2014/main" id="{20C4DF4B-0ED4-592C-F3CF-BE15FB0AA58E}"/>
                </a:ext>
              </a:extLst>
            </p:cNvPr>
            <p:cNvSpPr/>
            <p:nvPr/>
          </p:nvSpPr>
          <p:spPr bwMode="auto">
            <a:xfrm>
              <a:off x="-10512" y="1054048"/>
              <a:ext cx="12192000" cy="5065579"/>
            </a:xfrm>
            <a:prstGeom prst="rect">
              <a:avLst/>
            </a:prstGeom>
            <a:solidFill>
              <a:schemeClr val="bg1">
                <a:alpha val="87000"/>
              </a:schemeClr>
            </a:solidFill>
            <a:ln w="9525">
              <a:noFill/>
              <a:round/>
              <a:headEnd/>
              <a:tailEnd/>
            </a:ln>
            <a:effectLst/>
          </p:spPr>
          <p:txBody>
            <a:bodyPr rtlCol="0" anchor="ctr">
              <a:noAutofit/>
            </a:bodyPr>
            <a:lstStyle/>
            <a:p>
              <a:pPr algn="ctr" defTabSz="892941"/>
              <a:endParaRPr lang="en-US" sz="1200" b="1" kern="0" dirty="0">
                <a:solidFill>
                  <a:prstClr val="white"/>
                </a:solidFill>
                <a:latin typeface="Arial Regular"/>
              </a:endParaRPr>
            </a:p>
          </p:txBody>
        </p:sp>
      </p:grp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BD72CD9E-9970-91BF-59B4-957C5ECF07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98DEE5-5424-45CB-8336-3215AFBD0173}" type="slidenum">
              <a:rPr lang="it-IT" smtClean="0"/>
              <a:pPr/>
              <a:t>8</a:t>
            </a:fld>
            <a:endParaRPr lang="it-IT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A10BFB40-2A5A-616C-268F-A9F1A0A5A7E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Urban mobility studies for the Municipality of Trento | Available data and ongoing studies</a:t>
            </a:r>
            <a:endParaRPr lang="it-IT" dirty="0"/>
          </a:p>
        </p:txBody>
      </p:sp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71FF6A6B-7E68-8496-F3A0-9353E397186E}"/>
              </a:ext>
            </a:extLst>
          </p:cNvPr>
          <p:cNvSpPr/>
          <p:nvPr/>
        </p:nvSpPr>
        <p:spPr>
          <a:xfrm>
            <a:off x="768899" y="623750"/>
            <a:ext cx="7606203" cy="518959"/>
          </a:xfrm>
          <a:custGeom>
            <a:avLst/>
            <a:gdLst>
              <a:gd name="connsiteX0" fmla="*/ 0 w 7606203"/>
              <a:gd name="connsiteY0" fmla="*/ 86495 h 518959"/>
              <a:gd name="connsiteX1" fmla="*/ 86495 w 7606203"/>
              <a:gd name="connsiteY1" fmla="*/ 0 h 518959"/>
              <a:gd name="connsiteX2" fmla="*/ 687910 w 7606203"/>
              <a:gd name="connsiteY2" fmla="*/ 0 h 518959"/>
              <a:gd name="connsiteX3" fmla="*/ 1437988 w 7606203"/>
              <a:gd name="connsiteY3" fmla="*/ 0 h 518959"/>
              <a:gd name="connsiteX4" fmla="*/ 2039403 w 7606203"/>
              <a:gd name="connsiteY4" fmla="*/ 0 h 518959"/>
              <a:gd name="connsiteX5" fmla="*/ 2492153 w 7606203"/>
              <a:gd name="connsiteY5" fmla="*/ 0 h 518959"/>
              <a:gd name="connsiteX6" fmla="*/ 2944903 w 7606203"/>
              <a:gd name="connsiteY6" fmla="*/ 0 h 518959"/>
              <a:gd name="connsiteX7" fmla="*/ 3397654 w 7606203"/>
              <a:gd name="connsiteY7" fmla="*/ 0 h 518959"/>
              <a:gd name="connsiteX8" fmla="*/ 3924736 w 7606203"/>
              <a:gd name="connsiteY8" fmla="*/ 0 h 518959"/>
              <a:gd name="connsiteX9" fmla="*/ 4377486 w 7606203"/>
              <a:gd name="connsiteY9" fmla="*/ 0 h 518959"/>
              <a:gd name="connsiteX10" fmla="*/ 4830236 w 7606203"/>
              <a:gd name="connsiteY10" fmla="*/ 0 h 518959"/>
              <a:gd name="connsiteX11" fmla="*/ 5654647 w 7606203"/>
              <a:gd name="connsiteY11" fmla="*/ 0 h 518959"/>
              <a:gd name="connsiteX12" fmla="*/ 6181730 w 7606203"/>
              <a:gd name="connsiteY12" fmla="*/ 0 h 518959"/>
              <a:gd name="connsiteX13" fmla="*/ 7519708 w 7606203"/>
              <a:gd name="connsiteY13" fmla="*/ 0 h 518959"/>
              <a:gd name="connsiteX14" fmla="*/ 7606203 w 7606203"/>
              <a:gd name="connsiteY14" fmla="*/ 86495 h 518959"/>
              <a:gd name="connsiteX15" fmla="*/ 7606203 w 7606203"/>
              <a:gd name="connsiteY15" fmla="*/ 432464 h 518959"/>
              <a:gd name="connsiteX16" fmla="*/ 7519708 w 7606203"/>
              <a:gd name="connsiteY16" fmla="*/ 518959 h 518959"/>
              <a:gd name="connsiteX17" fmla="*/ 6695297 w 7606203"/>
              <a:gd name="connsiteY17" fmla="*/ 518959 h 518959"/>
              <a:gd name="connsiteX18" fmla="*/ 6093883 w 7606203"/>
              <a:gd name="connsiteY18" fmla="*/ 518959 h 518959"/>
              <a:gd name="connsiteX19" fmla="*/ 5418136 w 7606203"/>
              <a:gd name="connsiteY19" fmla="*/ 518959 h 518959"/>
              <a:gd name="connsiteX20" fmla="*/ 4593725 w 7606203"/>
              <a:gd name="connsiteY20" fmla="*/ 518959 h 518959"/>
              <a:gd name="connsiteX21" fmla="*/ 3843646 w 7606203"/>
              <a:gd name="connsiteY21" fmla="*/ 518959 h 518959"/>
              <a:gd name="connsiteX22" fmla="*/ 3316564 w 7606203"/>
              <a:gd name="connsiteY22" fmla="*/ 518959 h 518959"/>
              <a:gd name="connsiteX23" fmla="*/ 2863814 w 7606203"/>
              <a:gd name="connsiteY23" fmla="*/ 518959 h 518959"/>
              <a:gd name="connsiteX24" fmla="*/ 2411063 w 7606203"/>
              <a:gd name="connsiteY24" fmla="*/ 518959 h 518959"/>
              <a:gd name="connsiteX25" fmla="*/ 1586653 w 7606203"/>
              <a:gd name="connsiteY25" fmla="*/ 518959 h 518959"/>
              <a:gd name="connsiteX26" fmla="*/ 1059570 w 7606203"/>
              <a:gd name="connsiteY26" fmla="*/ 518959 h 518959"/>
              <a:gd name="connsiteX27" fmla="*/ 86495 w 7606203"/>
              <a:gd name="connsiteY27" fmla="*/ 518959 h 518959"/>
              <a:gd name="connsiteX28" fmla="*/ 0 w 7606203"/>
              <a:gd name="connsiteY28" fmla="*/ 432464 h 518959"/>
              <a:gd name="connsiteX29" fmla="*/ 0 w 7606203"/>
              <a:gd name="connsiteY29" fmla="*/ 86495 h 5189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</a:cxnLst>
            <a:rect l="l" t="t" r="r" b="b"/>
            <a:pathLst>
              <a:path w="7606203" h="518959" fill="none" extrusionOk="0">
                <a:moveTo>
                  <a:pt x="0" y="86495"/>
                </a:moveTo>
                <a:cubicBezTo>
                  <a:pt x="-786" y="46599"/>
                  <a:pt x="40093" y="-6574"/>
                  <a:pt x="86495" y="0"/>
                </a:cubicBezTo>
                <a:cubicBezTo>
                  <a:pt x="316076" y="1671"/>
                  <a:pt x="449728" y="15049"/>
                  <a:pt x="687910" y="0"/>
                </a:cubicBezTo>
                <a:cubicBezTo>
                  <a:pt x="926092" y="-15049"/>
                  <a:pt x="1204690" y="-34069"/>
                  <a:pt x="1437988" y="0"/>
                </a:cubicBezTo>
                <a:cubicBezTo>
                  <a:pt x="1671286" y="34069"/>
                  <a:pt x="1835809" y="-3422"/>
                  <a:pt x="2039403" y="0"/>
                </a:cubicBezTo>
                <a:cubicBezTo>
                  <a:pt x="2242997" y="3422"/>
                  <a:pt x="2399312" y="-18787"/>
                  <a:pt x="2492153" y="0"/>
                </a:cubicBezTo>
                <a:cubicBezTo>
                  <a:pt x="2584994" y="18787"/>
                  <a:pt x="2848522" y="-22602"/>
                  <a:pt x="2944903" y="0"/>
                </a:cubicBezTo>
                <a:cubicBezTo>
                  <a:pt x="3041284" y="22602"/>
                  <a:pt x="3234892" y="15658"/>
                  <a:pt x="3397654" y="0"/>
                </a:cubicBezTo>
                <a:cubicBezTo>
                  <a:pt x="3560416" y="-15658"/>
                  <a:pt x="3791264" y="-15399"/>
                  <a:pt x="3924736" y="0"/>
                </a:cubicBezTo>
                <a:cubicBezTo>
                  <a:pt x="4058208" y="15399"/>
                  <a:pt x="4257880" y="22030"/>
                  <a:pt x="4377486" y="0"/>
                </a:cubicBezTo>
                <a:cubicBezTo>
                  <a:pt x="4497092" y="-22030"/>
                  <a:pt x="4667202" y="10056"/>
                  <a:pt x="4830236" y="0"/>
                </a:cubicBezTo>
                <a:cubicBezTo>
                  <a:pt x="4993270" y="-10056"/>
                  <a:pt x="5356188" y="-14257"/>
                  <a:pt x="5654647" y="0"/>
                </a:cubicBezTo>
                <a:cubicBezTo>
                  <a:pt x="5953106" y="14257"/>
                  <a:pt x="6050068" y="-15986"/>
                  <a:pt x="6181730" y="0"/>
                </a:cubicBezTo>
                <a:cubicBezTo>
                  <a:pt x="6313392" y="15986"/>
                  <a:pt x="6932744" y="-19757"/>
                  <a:pt x="7519708" y="0"/>
                </a:cubicBezTo>
                <a:cubicBezTo>
                  <a:pt x="7568428" y="-11000"/>
                  <a:pt x="7617367" y="38976"/>
                  <a:pt x="7606203" y="86495"/>
                </a:cubicBezTo>
                <a:cubicBezTo>
                  <a:pt x="7606240" y="165102"/>
                  <a:pt x="7620114" y="271179"/>
                  <a:pt x="7606203" y="432464"/>
                </a:cubicBezTo>
                <a:cubicBezTo>
                  <a:pt x="7598686" y="481169"/>
                  <a:pt x="7565175" y="524239"/>
                  <a:pt x="7519708" y="518959"/>
                </a:cubicBezTo>
                <a:cubicBezTo>
                  <a:pt x="7117902" y="535652"/>
                  <a:pt x="6894289" y="540222"/>
                  <a:pt x="6695297" y="518959"/>
                </a:cubicBezTo>
                <a:cubicBezTo>
                  <a:pt x="6496305" y="497696"/>
                  <a:pt x="6303443" y="493727"/>
                  <a:pt x="6093883" y="518959"/>
                </a:cubicBezTo>
                <a:cubicBezTo>
                  <a:pt x="5884323" y="544191"/>
                  <a:pt x="5566262" y="534243"/>
                  <a:pt x="5418136" y="518959"/>
                </a:cubicBezTo>
                <a:cubicBezTo>
                  <a:pt x="5270010" y="503675"/>
                  <a:pt x="4792000" y="509862"/>
                  <a:pt x="4593725" y="518959"/>
                </a:cubicBezTo>
                <a:cubicBezTo>
                  <a:pt x="4395450" y="528056"/>
                  <a:pt x="4135780" y="510841"/>
                  <a:pt x="3843646" y="518959"/>
                </a:cubicBezTo>
                <a:cubicBezTo>
                  <a:pt x="3551512" y="527077"/>
                  <a:pt x="3540526" y="536369"/>
                  <a:pt x="3316564" y="518959"/>
                </a:cubicBezTo>
                <a:cubicBezTo>
                  <a:pt x="3092602" y="501549"/>
                  <a:pt x="3042660" y="534560"/>
                  <a:pt x="2863814" y="518959"/>
                </a:cubicBezTo>
                <a:cubicBezTo>
                  <a:pt x="2684968" y="503359"/>
                  <a:pt x="2631686" y="534518"/>
                  <a:pt x="2411063" y="518959"/>
                </a:cubicBezTo>
                <a:cubicBezTo>
                  <a:pt x="2190440" y="503400"/>
                  <a:pt x="1836243" y="478143"/>
                  <a:pt x="1586653" y="518959"/>
                </a:cubicBezTo>
                <a:cubicBezTo>
                  <a:pt x="1337063" y="559776"/>
                  <a:pt x="1219357" y="527367"/>
                  <a:pt x="1059570" y="518959"/>
                </a:cubicBezTo>
                <a:cubicBezTo>
                  <a:pt x="899783" y="510551"/>
                  <a:pt x="362038" y="508985"/>
                  <a:pt x="86495" y="518959"/>
                </a:cubicBezTo>
                <a:cubicBezTo>
                  <a:pt x="32177" y="521945"/>
                  <a:pt x="5007" y="479193"/>
                  <a:pt x="0" y="432464"/>
                </a:cubicBezTo>
                <a:cubicBezTo>
                  <a:pt x="10008" y="313156"/>
                  <a:pt x="11288" y="181722"/>
                  <a:pt x="0" y="86495"/>
                </a:cubicBezTo>
                <a:close/>
              </a:path>
              <a:path w="7606203" h="518959" stroke="0" extrusionOk="0">
                <a:moveTo>
                  <a:pt x="0" y="86495"/>
                </a:moveTo>
                <a:cubicBezTo>
                  <a:pt x="-92" y="40345"/>
                  <a:pt x="39855" y="-2959"/>
                  <a:pt x="86495" y="0"/>
                </a:cubicBezTo>
                <a:cubicBezTo>
                  <a:pt x="244657" y="20498"/>
                  <a:pt x="480178" y="7166"/>
                  <a:pt x="613577" y="0"/>
                </a:cubicBezTo>
                <a:cubicBezTo>
                  <a:pt x="746976" y="-7166"/>
                  <a:pt x="1004447" y="19577"/>
                  <a:pt x="1140660" y="0"/>
                </a:cubicBezTo>
                <a:cubicBezTo>
                  <a:pt x="1276873" y="-19577"/>
                  <a:pt x="1691029" y="34949"/>
                  <a:pt x="1965071" y="0"/>
                </a:cubicBezTo>
                <a:cubicBezTo>
                  <a:pt x="2239113" y="-34949"/>
                  <a:pt x="2347163" y="-4661"/>
                  <a:pt x="2492153" y="0"/>
                </a:cubicBezTo>
                <a:cubicBezTo>
                  <a:pt x="2637143" y="4661"/>
                  <a:pt x="2986285" y="-4355"/>
                  <a:pt x="3242232" y="0"/>
                </a:cubicBezTo>
                <a:cubicBezTo>
                  <a:pt x="3498179" y="4355"/>
                  <a:pt x="3569674" y="25142"/>
                  <a:pt x="3843646" y="0"/>
                </a:cubicBezTo>
                <a:cubicBezTo>
                  <a:pt x="4117618" y="-25142"/>
                  <a:pt x="4252954" y="-8616"/>
                  <a:pt x="4445061" y="0"/>
                </a:cubicBezTo>
                <a:cubicBezTo>
                  <a:pt x="4637169" y="8616"/>
                  <a:pt x="4773714" y="-21001"/>
                  <a:pt x="4897811" y="0"/>
                </a:cubicBezTo>
                <a:cubicBezTo>
                  <a:pt x="5021908" y="21001"/>
                  <a:pt x="5325047" y="-14829"/>
                  <a:pt x="5647890" y="0"/>
                </a:cubicBezTo>
                <a:cubicBezTo>
                  <a:pt x="5970733" y="14829"/>
                  <a:pt x="5921362" y="-4264"/>
                  <a:pt x="6100640" y="0"/>
                </a:cubicBezTo>
                <a:cubicBezTo>
                  <a:pt x="6279918" y="4264"/>
                  <a:pt x="6414474" y="1955"/>
                  <a:pt x="6553390" y="0"/>
                </a:cubicBezTo>
                <a:cubicBezTo>
                  <a:pt x="6692306" y="-1955"/>
                  <a:pt x="7258846" y="19091"/>
                  <a:pt x="7519708" y="0"/>
                </a:cubicBezTo>
                <a:cubicBezTo>
                  <a:pt x="7566019" y="-135"/>
                  <a:pt x="7610822" y="39911"/>
                  <a:pt x="7606203" y="86495"/>
                </a:cubicBezTo>
                <a:cubicBezTo>
                  <a:pt x="7619882" y="226304"/>
                  <a:pt x="7613235" y="342449"/>
                  <a:pt x="7606203" y="432464"/>
                </a:cubicBezTo>
                <a:cubicBezTo>
                  <a:pt x="7609337" y="479440"/>
                  <a:pt x="7569714" y="519155"/>
                  <a:pt x="7519708" y="518959"/>
                </a:cubicBezTo>
                <a:cubicBezTo>
                  <a:pt x="7349557" y="503912"/>
                  <a:pt x="7157360" y="540179"/>
                  <a:pt x="6918293" y="518959"/>
                </a:cubicBezTo>
                <a:cubicBezTo>
                  <a:pt x="6679226" y="497739"/>
                  <a:pt x="6526753" y="545563"/>
                  <a:pt x="6316879" y="518959"/>
                </a:cubicBezTo>
                <a:cubicBezTo>
                  <a:pt x="6107005" y="492355"/>
                  <a:pt x="5979133" y="521054"/>
                  <a:pt x="5864129" y="518959"/>
                </a:cubicBezTo>
                <a:cubicBezTo>
                  <a:pt x="5749125" y="516865"/>
                  <a:pt x="5424120" y="493575"/>
                  <a:pt x="5114050" y="518959"/>
                </a:cubicBezTo>
                <a:cubicBezTo>
                  <a:pt x="4803980" y="544343"/>
                  <a:pt x="4800680" y="521631"/>
                  <a:pt x="4586968" y="518959"/>
                </a:cubicBezTo>
                <a:cubicBezTo>
                  <a:pt x="4373256" y="516287"/>
                  <a:pt x="4172105" y="507709"/>
                  <a:pt x="3911221" y="518959"/>
                </a:cubicBezTo>
                <a:cubicBezTo>
                  <a:pt x="3650337" y="530209"/>
                  <a:pt x="3532314" y="524996"/>
                  <a:pt x="3384139" y="518959"/>
                </a:cubicBezTo>
                <a:cubicBezTo>
                  <a:pt x="3235964" y="512922"/>
                  <a:pt x="3024067" y="513442"/>
                  <a:pt x="2857056" y="518959"/>
                </a:cubicBezTo>
                <a:cubicBezTo>
                  <a:pt x="2690045" y="524476"/>
                  <a:pt x="2372950" y="499295"/>
                  <a:pt x="2106977" y="518959"/>
                </a:cubicBezTo>
                <a:cubicBezTo>
                  <a:pt x="1841004" y="538623"/>
                  <a:pt x="1697935" y="545456"/>
                  <a:pt x="1356899" y="518959"/>
                </a:cubicBezTo>
                <a:cubicBezTo>
                  <a:pt x="1015863" y="492462"/>
                  <a:pt x="387451" y="530710"/>
                  <a:pt x="86495" y="518959"/>
                </a:cubicBezTo>
                <a:cubicBezTo>
                  <a:pt x="42451" y="520025"/>
                  <a:pt x="-5525" y="469915"/>
                  <a:pt x="0" y="432464"/>
                </a:cubicBezTo>
                <a:cubicBezTo>
                  <a:pt x="-12276" y="357801"/>
                  <a:pt x="-13887" y="224100"/>
                  <a:pt x="0" y="86495"/>
                </a:cubicBezTo>
                <a:close/>
              </a:path>
            </a:pathLst>
          </a:custGeom>
          <a:solidFill>
            <a:schemeClr val="tx2">
              <a:lumMod val="20000"/>
              <a:lumOff val="80000"/>
            </a:schemeClr>
          </a:solidFill>
          <a:ln>
            <a:solidFill>
              <a:schemeClr val="tx2">
                <a:lumMod val="20000"/>
                <a:lumOff val="80000"/>
              </a:schemeClr>
            </a:solidFill>
            <a:extLst>
              <a:ext uri="{C807C97D-BFC1-408E-A445-0C87EB9F89A2}">
                <ask:lineSketchStyleProps xmlns:ask="http://schemas.microsoft.com/office/drawing/2018/sketchyshapes" sd="2492450290">
                  <a:prstGeom prst="round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i="1" dirty="0" err="1">
                <a:solidFill>
                  <a:schemeClr val="tx1"/>
                </a:solidFill>
              </a:rPr>
              <a:t>UnipolTech</a:t>
            </a:r>
            <a:r>
              <a:rPr lang="en-US" sz="1600" b="1" i="1" dirty="0">
                <a:solidFill>
                  <a:schemeClr val="tx1"/>
                </a:solidFill>
              </a:rPr>
              <a:t> </a:t>
            </a:r>
            <a:r>
              <a:rPr lang="en-US" sz="1600" i="1" dirty="0">
                <a:solidFill>
                  <a:schemeClr val="tx1"/>
                </a:solidFill>
              </a:rPr>
              <a:t>has access</a:t>
            </a:r>
            <a:r>
              <a:rPr lang="en-US" sz="1600" b="1" i="1" dirty="0">
                <a:solidFill>
                  <a:schemeClr val="tx1"/>
                </a:solidFill>
              </a:rPr>
              <a:t> </a:t>
            </a:r>
            <a:r>
              <a:rPr lang="en-US" sz="1600" i="1" dirty="0">
                <a:solidFill>
                  <a:schemeClr val="tx1"/>
                </a:solidFill>
              </a:rPr>
              <a:t>to a </a:t>
            </a:r>
            <a:r>
              <a:rPr lang="en-US" sz="1600" b="1" i="1" dirty="0">
                <a:solidFill>
                  <a:schemeClr val="tx1"/>
                </a:solidFill>
              </a:rPr>
              <a:t>vast amount of data</a:t>
            </a:r>
            <a:r>
              <a:rPr lang="en-US" sz="1600" i="1" dirty="0">
                <a:solidFill>
                  <a:schemeClr val="tx1"/>
                </a:solidFill>
              </a:rPr>
              <a:t>, which are used in </a:t>
            </a:r>
          </a:p>
          <a:p>
            <a:pPr algn="ctr"/>
            <a:r>
              <a:rPr lang="en-US" sz="1600" b="1" i="1" dirty="0">
                <a:solidFill>
                  <a:schemeClr val="tx1"/>
                </a:solidFill>
              </a:rPr>
              <a:t>two studies </a:t>
            </a:r>
            <a:r>
              <a:rPr lang="en-US" sz="1600" i="1" dirty="0">
                <a:solidFill>
                  <a:schemeClr val="tx1"/>
                </a:solidFill>
              </a:rPr>
              <a:t>for the </a:t>
            </a:r>
            <a:r>
              <a:rPr lang="en-US" sz="1600" b="1" i="1" dirty="0">
                <a:solidFill>
                  <a:schemeClr val="tx1"/>
                </a:solidFill>
              </a:rPr>
              <a:t>Municipality of Trento</a:t>
            </a:r>
            <a:endParaRPr lang="it-IT" sz="1600" b="1" i="1" dirty="0">
              <a:solidFill>
                <a:schemeClr val="tx1"/>
              </a:solidFill>
            </a:endParaRPr>
          </a:p>
        </p:txBody>
      </p:sp>
      <p:grpSp>
        <p:nvGrpSpPr>
          <p:cNvPr id="99" name="Group 98">
            <a:extLst>
              <a:ext uri="{FF2B5EF4-FFF2-40B4-BE49-F238E27FC236}">
                <a16:creationId xmlns:a16="http://schemas.microsoft.com/office/drawing/2014/main" id="{C1D5D011-608E-AFC9-996C-F3FFC347942C}"/>
              </a:ext>
            </a:extLst>
          </p:cNvPr>
          <p:cNvGrpSpPr/>
          <p:nvPr/>
        </p:nvGrpSpPr>
        <p:grpSpPr>
          <a:xfrm>
            <a:off x="5821577" y="1459314"/>
            <a:ext cx="2870868" cy="2972289"/>
            <a:chOff x="5821577" y="1649228"/>
            <a:chExt cx="2870868" cy="2972289"/>
          </a:xfrm>
        </p:grpSpPr>
        <p:cxnSp>
          <p:nvCxnSpPr>
            <p:cNvPr id="60" name="Straight Connector 59">
              <a:extLst>
                <a:ext uri="{FF2B5EF4-FFF2-40B4-BE49-F238E27FC236}">
                  <a16:creationId xmlns:a16="http://schemas.microsoft.com/office/drawing/2014/main" id="{7B2C8ABD-6F24-747A-187F-4D1A82CE36AD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859885" y="2962939"/>
              <a:ext cx="2832560" cy="0"/>
            </a:xfrm>
            <a:prstGeom prst="line">
              <a:avLst/>
            </a:prstGeom>
            <a:ln>
              <a:solidFill>
                <a:schemeClr val="tx2">
                  <a:lumMod val="60000"/>
                  <a:lumOff val="40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89" name="Group 88">
              <a:extLst>
                <a:ext uri="{FF2B5EF4-FFF2-40B4-BE49-F238E27FC236}">
                  <a16:creationId xmlns:a16="http://schemas.microsoft.com/office/drawing/2014/main" id="{6061CF32-D636-0C2D-0E58-BF4B4180C494}"/>
                </a:ext>
              </a:extLst>
            </p:cNvPr>
            <p:cNvGrpSpPr/>
            <p:nvPr/>
          </p:nvGrpSpPr>
          <p:grpSpPr>
            <a:xfrm>
              <a:off x="5821577" y="1649228"/>
              <a:ext cx="2870868" cy="1106107"/>
              <a:chOff x="5821577" y="1259433"/>
              <a:chExt cx="2870868" cy="1106107"/>
            </a:xfrm>
          </p:grpSpPr>
          <p:sp>
            <p:nvSpPr>
              <p:cNvPr id="9" name="Rectangle: Rounded Corners 8">
                <a:extLst>
                  <a:ext uri="{FF2B5EF4-FFF2-40B4-BE49-F238E27FC236}">
                    <a16:creationId xmlns:a16="http://schemas.microsoft.com/office/drawing/2014/main" id="{CBBF4C9F-6B4B-9403-50A0-DEE70CED5C5D}"/>
                  </a:ext>
                </a:extLst>
              </p:cNvPr>
              <p:cNvSpPr/>
              <p:nvPr/>
            </p:nvSpPr>
            <p:spPr>
              <a:xfrm>
                <a:off x="5821577" y="1431230"/>
                <a:ext cx="2870868" cy="934310"/>
              </a:xfrm>
              <a:prstGeom prst="roundRect">
                <a:avLst>
                  <a:gd name="adj" fmla="val 6557"/>
                </a:avLst>
              </a:prstGeom>
              <a:solidFill>
                <a:schemeClr val="accent5">
                  <a:lumMod val="20000"/>
                  <a:lumOff val="80000"/>
                </a:schemeClr>
              </a:solidFill>
              <a:ln w="9525">
                <a:prstDash val="dash"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800" b="1" dirty="0">
                    <a:solidFill>
                      <a:schemeClr val="tx1"/>
                    </a:solidFill>
                  </a:rPr>
                  <a:t>Average speeds </a:t>
                </a:r>
                <a:r>
                  <a:rPr lang="en-US" sz="1800" dirty="0">
                    <a:solidFill>
                      <a:schemeClr val="tx1"/>
                    </a:solidFill>
                  </a:rPr>
                  <a:t>in the </a:t>
                </a:r>
                <a:r>
                  <a:rPr lang="en-US" sz="1800" b="1" dirty="0">
                    <a:solidFill>
                      <a:schemeClr val="tx1"/>
                    </a:solidFill>
                  </a:rPr>
                  <a:t>different road sections</a:t>
                </a:r>
                <a:endParaRPr lang="it-IT" sz="1800" b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44" name="Rectangle: Rounded Corners 43">
                <a:extLst>
                  <a:ext uri="{FF2B5EF4-FFF2-40B4-BE49-F238E27FC236}">
                    <a16:creationId xmlns:a16="http://schemas.microsoft.com/office/drawing/2014/main" id="{50AE7355-575A-D69A-0F87-07923C2CECBD}"/>
                  </a:ext>
                </a:extLst>
              </p:cNvPr>
              <p:cNvSpPr/>
              <p:nvPr/>
            </p:nvSpPr>
            <p:spPr>
              <a:xfrm>
                <a:off x="6173028" y="1259433"/>
                <a:ext cx="2176865" cy="325827"/>
              </a:xfrm>
              <a:prstGeom prst="roundRect">
                <a:avLst/>
              </a:prstGeom>
              <a:solidFill>
                <a:schemeClr val="bg1"/>
              </a:solidFill>
              <a:ln>
                <a:solidFill>
                  <a:schemeClr val="tx2">
                    <a:lumMod val="60000"/>
                    <a:lumOff val="40000"/>
                  </a:schemeClr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it-IT" sz="1600" b="1" dirty="0">
                    <a:solidFill>
                      <a:schemeClr val="tx1"/>
                    </a:solidFill>
                  </a:rPr>
                  <a:t>Speeds study</a:t>
                </a:r>
              </a:p>
            </p:txBody>
          </p:sp>
          <p:grpSp>
            <p:nvGrpSpPr>
              <p:cNvPr id="55" name="Group 54">
                <a:extLst>
                  <a:ext uri="{FF2B5EF4-FFF2-40B4-BE49-F238E27FC236}">
                    <a16:creationId xmlns:a16="http://schemas.microsoft.com/office/drawing/2014/main" id="{62024DB1-9F1C-9EA0-62C3-753844B9D493}"/>
                  </a:ext>
                </a:extLst>
              </p:cNvPr>
              <p:cNvGrpSpPr>
                <a:grpSpLocks noChangeAspect="1"/>
              </p:cNvGrpSpPr>
              <p:nvPr/>
            </p:nvGrpSpPr>
            <p:grpSpPr>
              <a:xfrm>
                <a:off x="5979922" y="1262100"/>
                <a:ext cx="320492" cy="320492"/>
                <a:chOff x="4757722" y="3673929"/>
                <a:chExt cx="914400" cy="914400"/>
              </a:xfrm>
            </p:grpSpPr>
            <p:sp>
              <p:nvSpPr>
                <p:cNvPr id="54" name="Oval 53">
                  <a:extLst>
                    <a:ext uri="{FF2B5EF4-FFF2-40B4-BE49-F238E27FC236}">
                      <a16:creationId xmlns:a16="http://schemas.microsoft.com/office/drawing/2014/main" id="{F2CBB46A-CFE2-57D5-545A-51E2449EB4AF}"/>
                    </a:ext>
                  </a:extLst>
                </p:cNvPr>
                <p:cNvSpPr/>
                <p:nvPr/>
              </p:nvSpPr>
              <p:spPr>
                <a:xfrm>
                  <a:off x="4757722" y="3673929"/>
                  <a:ext cx="914400" cy="914400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it-IT"/>
                </a:p>
              </p:txBody>
            </p:sp>
            <p:pic>
              <p:nvPicPr>
                <p:cNvPr id="52" name="Graphic 51" descr="Badge 1 with solid fill">
                  <a:extLst>
                    <a:ext uri="{FF2B5EF4-FFF2-40B4-BE49-F238E27FC236}">
                      <a16:creationId xmlns:a16="http://schemas.microsoft.com/office/drawing/2014/main" id="{583A93BF-532D-5FA7-3161-51DE8186037D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6">
                  <a:extLst>
                    <a:ext uri="{28A0092B-C50C-407E-A947-70E740481C1C}">
                      <a14:useLocalDpi xmlns:a14="http://schemas.microsoft.com/office/drawing/2010/main"/>
                    </a:ext>
                    <a:ext uri="{96DAC541-7B7A-43D3-8B79-37D633B846F1}">
                      <asvg:svgBlip xmlns:asvg="http://schemas.microsoft.com/office/drawing/2016/SVG/main" r:embed="rId7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4757722" y="3673929"/>
                  <a:ext cx="914400" cy="914400"/>
                </a:xfrm>
                <a:prstGeom prst="rect">
                  <a:avLst/>
                </a:prstGeom>
              </p:spPr>
            </p:pic>
          </p:grpSp>
        </p:grpSp>
        <p:grpSp>
          <p:nvGrpSpPr>
            <p:cNvPr id="61" name="Group 60">
              <a:extLst>
                <a:ext uri="{FF2B5EF4-FFF2-40B4-BE49-F238E27FC236}">
                  <a16:creationId xmlns:a16="http://schemas.microsoft.com/office/drawing/2014/main" id="{1F473A36-B9B2-B3E4-7C3E-BADCD4888A66}"/>
                </a:ext>
              </a:extLst>
            </p:cNvPr>
            <p:cNvGrpSpPr/>
            <p:nvPr/>
          </p:nvGrpSpPr>
          <p:grpSpPr>
            <a:xfrm>
              <a:off x="5821577" y="3163280"/>
              <a:ext cx="2870868" cy="1458237"/>
              <a:chOff x="5389777" y="3019741"/>
              <a:chExt cx="2870868" cy="1458237"/>
            </a:xfrm>
          </p:grpSpPr>
          <p:sp>
            <p:nvSpPr>
              <p:cNvPr id="27" name="Rectangle: Rounded Corners 26">
                <a:extLst>
                  <a:ext uri="{FF2B5EF4-FFF2-40B4-BE49-F238E27FC236}">
                    <a16:creationId xmlns:a16="http://schemas.microsoft.com/office/drawing/2014/main" id="{A721C20C-EBC9-719B-9F92-6EC80CD59565}"/>
                  </a:ext>
                </a:extLst>
              </p:cNvPr>
              <p:cNvSpPr/>
              <p:nvPr/>
            </p:nvSpPr>
            <p:spPr>
              <a:xfrm>
                <a:off x="5389777" y="3191537"/>
                <a:ext cx="2870868" cy="1286441"/>
              </a:xfrm>
              <a:prstGeom prst="roundRect">
                <a:avLst>
                  <a:gd name="adj" fmla="val 6557"/>
                </a:avLst>
              </a:prstGeom>
              <a:solidFill>
                <a:schemeClr val="accent5">
                  <a:lumMod val="20000"/>
                  <a:lumOff val="80000"/>
                </a:schemeClr>
              </a:solidFill>
              <a:ln w="9525">
                <a:prstDash val="dash"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800" b="1">
                    <a:solidFill>
                      <a:schemeClr val="tx1"/>
                    </a:solidFill>
                  </a:rPr>
                  <a:t>Roads </a:t>
                </a:r>
                <a:r>
                  <a:rPr lang="en-US" sz="1800">
                    <a:solidFill>
                      <a:schemeClr val="tx1"/>
                    </a:solidFill>
                  </a:rPr>
                  <a:t>where sudden </a:t>
                </a:r>
                <a:r>
                  <a:rPr lang="en-US" sz="1800" b="1">
                    <a:solidFill>
                      <a:schemeClr val="tx1"/>
                    </a:solidFill>
                  </a:rPr>
                  <a:t>braking/ acceleration events </a:t>
                </a:r>
                <a:r>
                  <a:rPr lang="en-US" sz="1800">
                    <a:solidFill>
                      <a:schemeClr val="tx1"/>
                    </a:solidFill>
                  </a:rPr>
                  <a:t>are </a:t>
                </a:r>
                <a:r>
                  <a:rPr lang="en-US" sz="1800" b="1">
                    <a:solidFill>
                      <a:schemeClr val="tx1"/>
                    </a:solidFill>
                  </a:rPr>
                  <a:t>concentrated</a:t>
                </a:r>
                <a:endParaRPr lang="en-US" sz="1800" b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45" name="Rectangle: Rounded Corners 44">
                <a:extLst>
                  <a:ext uri="{FF2B5EF4-FFF2-40B4-BE49-F238E27FC236}">
                    <a16:creationId xmlns:a16="http://schemas.microsoft.com/office/drawing/2014/main" id="{D85ED34E-E242-D163-4069-051C69B3D3C7}"/>
                  </a:ext>
                </a:extLst>
              </p:cNvPr>
              <p:cNvSpPr/>
              <p:nvPr/>
            </p:nvSpPr>
            <p:spPr>
              <a:xfrm>
                <a:off x="5816902" y="3019741"/>
                <a:ext cx="2176865" cy="325827"/>
              </a:xfrm>
              <a:prstGeom prst="roundRect">
                <a:avLst/>
              </a:prstGeom>
              <a:solidFill>
                <a:schemeClr val="bg1"/>
              </a:solidFill>
              <a:ln>
                <a:solidFill>
                  <a:schemeClr val="tx2">
                    <a:lumMod val="60000"/>
                    <a:lumOff val="40000"/>
                  </a:schemeClr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it-IT" sz="1600" b="1" dirty="0" err="1">
                    <a:solidFill>
                      <a:schemeClr val="tx1"/>
                    </a:solidFill>
                  </a:rPr>
                  <a:t>Driving</a:t>
                </a:r>
                <a:r>
                  <a:rPr lang="it-IT" sz="1600" b="1" dirty="0">
                    <a:solidFill>
                      <a:schemeClr val="tx1"/>
                    </a:solidFill>
                  </a:rPr>
                  <a:t> style study</a:t>
                </a:r>
              </a:p>
            </p:txBody>
          </p:sp>
          <p:grpSp>
            <p:nvGrpSpPr>
              <p:cNvPr id="56" name="Group 55">
                <a:extLst>
                  <a:ext uri="{FF2B5EF4-FFF2-40B4-BE49-F238E27FC236}">
                    <a16:creationId xmlns:a16="http://schemas.microsoft.com/office/drawing/2014/main" id="{D928282E-A856-A121-8267-197F67E7D993}"/>
                  </a:ext>
                </a:extLst>
              </p:cNvPr>
              <p:cNvGrpSpPr>
                <a:grpSpLocks noChangeAspect="1"/>
              </p:cNvGrpSpPr>
              <p:nvPr/>
            </p:nvGrpSpPr>
            <p:grpSpPr>
              <a:xfrm>
                <a:off x="5614353" y="3022408"/>
                <a:ext cx="320492" cy="320492"/>
                <a:chOff x="6776357" y="3673929"/>
                <a:chExt cx="914400" cy="914400"/>
              </a:xfrm>
            </p:grpSpPr>
            <p:sp>
              <p:nvSpPr>
                <p:cNvPr id="53" name="Oval 52">
                  <a:extLst>
                    <a:ext uri="{FF2B5EF4-FFF2-40B4-BE49-F238E27FC236}">
                      <a16:creationId xmlns:a16="http://schemas.microsoft.com/office/drawing/2014/main" id="{7B563DCA-F38A-8B52-0B02-B9FC676821C6}"/>
                    </a:ext>
                  </a:extLst>
                </p:cNvPr>
                <p:cNvSpPr/>
                <p:nvPr/>
              </p:nvSpPr>
              <p:spPr>
                <a:xfrm>
                  <a:off x="6776357" y="3673929"/>
                  <a:ext cx="914400" cy="914400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it-IT"/>
                </a:p>
              </p:txBody>
            </p:sp>
            <p:pic>
              <p:nvPicPr>
                <p:cNvPr id="50" name="Graphic 49" descr="Badge with solid fill">
                  <a:extLst>
                    <a:ext uri="{FF2B5EF4-FFF2-40B4-BE49-F238E27FC236}">
                      <a16:creationId xmlns:a16="http://schemas.microsoft.com/office/drawing/2014/main" id="{A0EA4367-6CC9-FE2B-BB2E-AC6B524229E5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8">
                  <a:extLst>
                    <a:ext uri="{28A0092B-C50C-407E-A947-70E740481C1C}">
                      <a14:useLocalDpi xmlns:a14="http://schemas.microsoft.com/office/drawing/2010/main"/>
                    </a:ext>
                    <a:ext uri="{96DAC541-7B7A-43D3-8B79-37D633B846F1}">
                      <asvg:svgBlip xmlns:asvg="http://schemas.microsoft.com/office/drawing/2016/SVG/main" r:embed="rId9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776357" y="3673929"/>
                  <a:ext cx="914400" cy="914400"/>
                </a:xfrm>
                <a:prstGeom prst="rect">
                  <a:avLst/>
                </a:prstGeom>
              </p:spPr>
            </p:pic>
          </p:grpSp>
        </p:grpSp>
      </p:grpSp>
      <p:pic>
        <p:nvPicPr>
          <p:cNvPr id="38" name="Picture 37" descr="A black and white emblem with a crown&#10;&#10;Description automatically generated">
            <a:extLst>
              <a:ext uri="{FF2B5EF4-FFF2-40B4-BE49-F238E27FC236}">
                <a16:creationId xmlns:a16="http://schemas.microsoft.com/office/drawing/2014/main" id="{A7012D7B-527D-1B6D-9739-A35231C5306A}"/>
              </a:ext>
            </a:extLst>
          </p:cNvPr>
          <p:cNvPicPr>
            <a:picLocks noChangeAspect="1"/>
          </p:cNvPicPr>
          <p:nvPr/>
        </p:nvPicPr>
        <p:blipFill>
          <a:blip r:embed="rId10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71242" y="2340592"/>
            <a:ext cx="1209736" cy="1209735"/>
          </a:xfrm>
          <a:prstGeom prst="rect">
            <a:avLst/>
          </a:prstGeom>
        </p:spPr>
      </p:pic>
      <p:sp>
        <p:nvSpPr>
          <p:cNvPr id="83" name="Moon 14">
            <a:extLst>
              <a:ext uri="{FF2B5EF4-FFF2-40B4-BE49-F238E27FC236}">
                <a16:creationId xmlns:a16="http://schemas.microsoft.com/office/drawing/2014/main" id="{FAA372A0-B3A7-29FE-4CBB-859F02B930F1}"/>
              </a:ext>
            </a:extLst>
          </p:cNvPr>
          <p:cNvSpPr/>
          <p:nvPr/>
        </p:nvSpPr>
        <p:spPr>
          <a:xfrm flipH="1">
            <a:off x="0" y="1322546"/>
            <a:ext cx="1442807" cy="3272551"/>
          </a:xfrm>
          <a:prstGeom prst="moon">
            <a:avLst>
              <a:gd name="adj" fmla="val 14408"/>
            </a:avLst>
          </a:prstGeom>
          <a:solidFill>
            <a:schemeClr val="tx2"/>
          </a:solidFill>
          <a:ln w="25400" cap="flat" cmpd="sng" algn="ctr">
            <a:noFill/>
            <a:prstDash val="solid"/>
          </a:ln>
          <a:effectLst/>
        </p:spPr>
        <p:txBody>
          <a:bodyPr anchor="ctr"/>
          <a:lstStyle/>
          <a:p>
            <a:pPr marL="177800" marR="0" lvl="0" indent="-177800" algn="ctr" defTabSz="914400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endParaRPr kumimoji="0" lang="it-IT" sz="1200" b="0" i="0" u="none" strike="noStrike" kern="0" cap="none" spc="0" normalizeH="0" baseline="0" dirty="0">
              <a:ln>
                <a:noFill/>
              </a:ln>
              <a:solidFill>
                <a:srgbClr val="002776"/>
              </a:solidFill>
              <a:effectLst/>
              <a:uLnTx/>
              <a:uFillTx/>
            </a:endParaRPr>
          </a:p>
        </p:txBody>
      </p:sp>
      <p:sp>
        <p:nvSpPr>
          <p:cNvPr id="85" name="Rectangle 84">
            <a:extLst>
              <a:ext uri="{FF2B5EF4-FFF2-40B4-BE49-F238E27FC236}">
                <a16:creationId xmlns:a16="http://schemas.microsoft.com/office/drawing/2014/main" id="{F09245BD-457F-C14F-157D-DE6B98E73BF1}"/>
              </a:ext>
            </a:extLst>
          </p:cNvPr>
          <p:cNvSpPr/>
          <p:nvPr/>
        </p:nvSpPr>
        <p:spPr>
          <a:xfrm>
            <a:off x="937801" y="1490529"/>
            <a:ext cx="4203651" cy="54175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0" rIns="36000" rtlCol="0" anchor="ctr"/>
          <a:lstStyle/>
          <a:p>
            <a:r>
              <a:rPr lang="en-US" sz="14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~</a:t>
            </a:r>
            <a:r>
              <a:rPr lang="en-US" sz="1400" b="1" dirty="0">
                <a:solidFill>
                  <a:schemeClr val="tx1"/>
                </a:solidFill>
              </a:rPr>
              <a:t>5k vehicle </a:t>
            </a:r>
            <a:r>
              <a:rPr lang="en-US" sz="1400" dirty="0">
                <a:solidFill>
                  <a:schemeClr val="tx1"/>
                </a:solidFill>
              </a:rPr>
              <a:t>in transit </a:t>
            </a:r>
            <a:r>
              <a:rPr lang="en-US" sz="1400" b="1" dirty="0">
                <a:solidFill>
                  <a:schemeClr val="tx1"/>
                </a:solidFill>
              </a:rPr>
              <a:t>daily</a:t>
            </a:r>
          </a:p>
        </p:txBody>
      </p:sp>
      <p:sp>
        <p:nvSpPr>
          <p:cNvPr id="86" name="Rectangle 85">
            <a:extLst>
              <a:ext uri="{FF2B5EF4-FFF2-40B4-BE49-F238E27FC236}">
                <a16:creationId xmlns:a16="http://schemas.microsoft.com/office/drawing/2014/main" id="{21D9683D-9194-A694-7FB6-93DC9A9AE336}"/>
              </a:ext>
            </a:extLst>
          </p:cNvPr>
          <p:cNvSpPr/>
          <p:nvPr/>
        </p:nvSpPr>
        <p:spPr>
          <a:xfrm>
            <a:off x="1367497" y="2298221"/>
            <a:ext cx="3773955" cy="54175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0" rIns="36000" rtlCol="0" anchor="ctr"/>
          <a:lstStyle/>
          <a:p>
            <a:r>
              <a:rPr lang="en-US" sz="1400" b="1" dirty="0">
                <a:solidFill>
                  <a:schemeClr val="tx1"/>
                </a:solidFill>
              </a:rPr>
              <a:t>&gt;100.000 km tracked every day</a:t>
            </a:r>
            <a:r>
              <a:rPr lang="en-US" sz="1400" dirty="0">
                <a:solidFill>
                  <a:schemeClr val="tx1"/>
                </a:solidFill>
              </a:rPr>
              <a:t>, also distinguished</a:t>
            </a:r>
            <a:r>
              <a:rPr lang="en-US" sz="1400" b="1" dirty="0">
                <a:solidFill>
                  <a:schemeClr val="tx1"/>
                </a:solidFill>
              </a:rPr>
              <a:t> </a:t>
            </a:r>
            <a:r>
              <a:rPr lang="en-US" sz="1400" dirty="0">
                <a:solidFill>
                  <a:schemeClr val="tx1"/>
                </a:solidFill>
              </a:rPr>
              <a:t>by </a:t>
            </a:r>
            <a:r>
              <a:rPr lang="en-US" sz="1400" b="1" dirty="0">
                <a:solidFill>
                  <a:schemeClr val="tx1"/>
                </a:solidFill>
              </a:rPr>
              <a:t>road type</a:t>
            </a:r>
          </a:p>
        </p:txBody>
      </p:sp>
      <p:sp>
        <p:nvSpPr>
          <p:cNvPr id="87" name="Rectangle 86">
            <a:extLst>
              <a:ext uri="{FF2B5EF4-FFF2-40B4-BE49-F238E27FC236}">
                <a16:creationId xmlns:a16="http://schemas.microsoft.com/office/drawing/2014/main" id="{53ECA36A-899A-0A0D-8023-5E1709B54FFD}"/>
              </a:ext>
            </a:extLst>
          </p:cNvPr>
          <p:cNvSpPr/>
          <p:nvPr/>
        </p:nvSpPr>
        <p:spPr>
          <a:xfrm>
            <a:off x="1367497" y="3100592"/>
            <a:ext cx="3773955" cy="54175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0" rIns="36000" rtlCol="0" anchor="ctr"/>
          <a:lstStyle/>
          <a:p>
            <a:r>
              <a:rPr lang="en-US" sz="14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~</a:t>
            </a:r>
            <a:r>
              <a:rPr lang="en-US" sz="1400" b="1" dirty="0">
                <a:solidFill>
                  <a:schemeClr val="tx1"/>
                </a:solidFill>
              </a:rPr>
              <a:t>50 claims per month </a:t>
            </a:r>
            <a:r>
              <a:rPr lang="en-US" sz="1400" dirty="0">
                <a:solidFill>
                  <a:schemeClr val="tx1"/>
                </a:solidFill>
              </a:rPr>
              <a:t>with relative </a:t>
            </a:r>
            <a:r>
              <a:rPr lang="en-US" sz="1400" b="1" dirty="0">
                <a:solidFill>
                  <a:schemeClr val="tx1"/>
                </a:solidFill>
              </a:rPr>
              <a:t>geolocation</a:t>
            </a:r>
          </a:p>
        </p:txBody>
      </p:sp>
      <p:sp>
        <p:nvSpPr>
          <p:cNvPr id="88" name="Rectangle 87">
            <a:extLst>
              <a:ext uri="{FF2B5EF4-FFF2-40B4-BE49-F238E27FC236}">
                <a16:creationId xmlns:a16="http://schemas.microsoft.com/office/drawing/2014/main" id="{6E96ABCC-44C2-38F0-6008-EF312D6341D8}"/>
              </a:ext>
            </a:extLst>
          </p:cNvPr>
          <p:cNvSpPr/>
          <p:nvPr/>
        </p:nvSpPr>
        <p:spPr>
          <a:xfrm>
            <a:off x="937801" y="3905238"/>
            <a:ext cx="4203651" cy="54175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0" rIns="36000" rtlCol="0" anchor="ctr"/>
          <a:lstStyle/>
          <a:p>
            <a:r>
              <a:rPr lang="en-US" sz="1400" b="1" dirty="0">
                <a:solidFill>
                  <a:schemeClr val="tx1"/>
                </a:solidFill>
              </a:rPr>
              <a:t>Driving style</a:t>
            </a:r>
          </a:p>
        </p:txBody>
      </p:sp>
      <p:grpSp>
        <p:nvGrpSpPr>
          <p:cNvPr id="62" name="Group 61">
            <a:extLst>
              <a:ext uri="{FF2B5EF4-FFF2-40B4-BE49-F238E27FC236}">
                <a16:creationId xmlns:a16="http://schemas.microsoft.com/office/drawing/2014/main" id="{E2ADEB27-8D39-34CC-C6D4-A9F458836961}"/>
              </a:ext>
            </a:extLst>
          </p:cNvPr>
          <p:cNvGrpSpPr/>
          <p:nvPr/>
        </p:nvGrpSpPr>
        <p:grpSpPr>
          <a:xfrm>
            <a:off x="666830" y="1492671"/>
            <a:ext cx="578217" cy="541750"/>
            <a:chOff x="-165530" y="1380582"/>
            <a:chExt cx="657036" cy="615600"/>
          </a:xfrm>
        </p:grpSpPr>
        <p:sp>
          <p:nvSpPr>
            <p:cNvPr id="63" name="Oval 62">
              <a:extLst>
                <a:ext uri="{FF2B5EF4-FFF2-40B4-BE49-F238E27FC236}">
                  <a16:creationId xmlns:a16="http://schemas.microsoft.com/office/drawing/2014/main" id="{6DACE109-E3B6-7E21-3E0B-3EAC31EE077D}"/>
                </a:ext>
              </a:extLst>
            </p:cNvPr>
            <p:cNvSpPr/>
            <p:nvPr/>
          </p:nvSpPr>
          <p:spPr>
            <a:xfrm>
              <a:off x="-144922" y="1380582"/>
              <a:ext cx="615820" cy="615600"/>
            </a:xfrm>
            <a:prstGeom prst="ellipse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dirty="0"/>
            </a:p>
          </p:txBody>
        </p:sp>
        <p:pic>
          <p:nvPicPr>
            <p:cNvPr id="64" name="Immagine 56">
              <a:extLst>
                <a:ext uri="{FF2B5EF4-FFF2-40B4-BE49-F238E27FC236}">
                  <a16:creationId xmlns:a16="http://schemas.microsoft.com/office/drawing/2014/main" id="{DE9A192B-64DA-D4A7-BD9B-44D646E94A1F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1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-165530" y="1558480"/>
              <a:ext cx="657036" cy="259804"/>
            </a:xfrm>
            <a:prstGeom prst="rect">
              <a:avLst/>
            </a:prstGeom>
          </p:spPr>
        </p:pic>
      </p:grpSp>
      <p:grpSp>
        <p:nvGrpSpPr>
          <p:cNvPr id="65" name="Group 64">
            <a:extLst>
              <a:ext uri="{FF2B5EF4-FFF2-40B4-BE49-F238E27FC236}">
                <a16:creationId xmlns:a16="http://schemas.microsoft.com/office/drawing/2014/main" id="{F38A03DF-EE38-7766-5860-AD5C63251E75}"/>
              </a:ext>
            </a:extLst>
          </p:cNvPr>
          <p:cNvGrpSpPr/>
          <p:nvPr/>
        </p:nvGrpSpPr>
        <p:grpSpPr>
          <a:xfrm>
            <a:off x="1081698" y="2297763"/>
            <a:ext cx="541946" cy="541752"/>
            <a:chOff x="2419179" y="1303567"/>
            <a:chExt cx="615820" cy="615600"/>
          </a:xfrm>
        </p:grpSpPr>
        <p:sp>
          <p:nvSpPr>
            <p:cNvPr id="66" name="Oval 65">
              <a:extLst>
                <a:ext uri="{FF2B5EF4-FFF2-40B4-BE49-F238E27FC236}">
                  <a16:creationId xmlns:a16="http://schemas.microsoft.com/office/drawing/2014/main" id="{E8BFF8C1-7851-1907-A92B-88A5A7A3ADE1}"/>
                </a:ext>
              </a:extLst>
            </p:cNvPr>
            <p:cNvSpPr/>
            <p:nvPr/>
          </p:nvSpPr>
          <p:spPr>
            <a:xfrm>
              <a:off x="2419179" y="1303567"/>
              <a:ext cx="615820" cy="615600"/>
            </a:xfrm>
            <a:prstGeom prst="ellipse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dirty="0"/>
            </a:p>
          </p:txBody>
        </p:sp>
        <p:pic>
          <p:nvPicPr>
            <p:cNvPr id="67" name="Immagine 61">
              <a:extLst>
                <a:ext uri="{FF2B5EF4-FFF2-40B4-BE49-F238E27FC236}">
                  <a16:creationId xmlns:a16="http://schemas.microsoft.com/office/drawing/2014/main" id="{48B7DEDE-BD5C-8316-E9DB-78AD25376C35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542109" y="1380582"/>
              <a:ext cx="405298" cy="405298"/>
            </a:xfrm>
            <a:prstGeom prst="rect">
              <a:avLst/>
            </a:prstGeom>
          </p:spPr>
        </p:pic>
      </p:grpSp>
      <p:grpSp>
        <p:nvGrpSpPr>
          <p:cNvPr id="68" name="Group 67">
            <a:extLst>
              <a:ext uri="{FF2B5EF4-FFF2-40B4-BE49-F238E27FC236}">
                <a16:creationId xmlns:a16="http://schemas.microsoft.com/office/drawing/2014/main" id="{DE240C6B-2955-50D7-7AA0-AF9C99C984E7}"/>
              </a:ext>
            </a:extLst>
          </p:cNvPr>
          <p:cNvGrpSpPr/>
          <p:nvPr/>
        </p:nvGrpSpPr>
        <p:grpSpPr>
          <a:xfrm>
            <a:off x="1081698" y="3102857"/>
            <a:ext cx="541946" cy="541750"/>
            <a:chOff x="3859106" y="1277873"/>
            <a:chExt cx="615820" cy="615600"/>
          </a:xfrm>
        </p:grpSpPr>
        <p:sp>
          <p:nvSpPr>
            <p:cNvPr id="69" name="Oval 68">
              <a:extLst>
                <a:ext uri="{FF2B5EF4-FFF2-40B4-BE49-F238E27FC236}">
                  <a16:creationId xmlns:a16="http://schemas.microsoft.com/office/drawing/2014/main" id="{C318ABED-46BC-C182-978C-81660F9C7DCC}"/>
                </a:ext>
              </a:extLst>
            </p:cNvPr>
            <p:cNvSpPr/>
            <p:nvPr/>
          </p:nvSpPr>
          <p:spPr>
            <a:xfrm>
              <a:off x="3859106" y="1277873"/>
              <a:ext cx="615820" cy="615600"/>
            </a:xfrm>
            <a:prstGeom prst="ellipse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dirty="0"/>
            </a:p>
          </p:txBody>
        </p:sp>
        <p:pic>
          <p:nvPicPr>
            <p:cNvPr id="70" name="Immagine 81">
              <a:extLst>
                <a:ext uri="{FF2B5EF4-FFF2-40B4-BE49-F238E27FC236}">
                  <a16:creationId xmlns:a16="http://schemas.microsoft.com/office/drawing/2014/main" id="{8B83B5B1-6801-E81A-0C06-6D060CD6E3BB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 cstate="hq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949801" y="1368458"/>
              <a:ext cx="434430" cy="434430"/>
            </a:xfrm>
            <a:prstGeom prst="rect">
              <a:avLst/>
            </a:prstGeom>
          </p:spPr>
        </p:pic>
      </p:grpSp>
      <p:grpSp>
        <p:nvGrpSpPr>
          <p:cNvPr id="71" name="Group 70">
            <a:extLst>
              <a:ext uri="{FF2B5EF4-FFF2-40B4-BE49-F238E27FC236}">
                <a16:creationId xmlns:a16="http://schemas.microsoft.com/office/drawing/2014/main" id="{50571E36-86B8-EFEB-C476-4F080D5C098D}"/>
              </a:ext>
            </a:extLst>
          </p:cNvPr>
          <p:cNvGrpSpPr/>
          <p:nvPr/>
        </p:nvGrpSpPr>
        <p:grpSpPr>
          <a:xfrm>
            <a:off x="666830" y="3907949"/>
            <a:ext cx="541945" cy="541750"/>
            <a:chOff x="5709850" y="3445765"/>
            <a:chExt cx="541945" cy="541750"/>
          </a:xfrm>
        </p:grpSpPr>
        <p:sp>
          <p:nvSpPr>
            <p:cNvPr id="72" name="Oval 71">
              <a:extLst>
                <a:ext uri="{FF2B5EF4-FFF2-40B4-BE49-F238E27FC236}">
                  <a16:creationId xmlns:a16="http://schemas.microsoft.com/office/drawing/2014/main" id="{FB6E2A2D-A053-6CF3-A7FA-4A1E6767E94B}"/>
                </a:ext>
              </a:extLst>
            </p:cNvPr>
            <p:cNvSpPr/>
            <p:nvPr/>
          </p:nvSpPr>
          <p:spPr>
            <a:xfrm>
              <a:off x="5709850" y="3445765"/>
              <a:ext cx="541945" cy="541750"/>
            </a:xfrm>
            <a:prstGeom prst="ellipse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dirty="0"/>
            </a:p>
          </p:txBody>
        </p:sp>
        <p:grpSp>
          <p:nvGrpSpPr>
            <p:cNvPr id="73" name="Group 72">
              <a:extLst>
                <a:ext uri="{FF2B5EF4-FFF2-40B4-BE49-F238E27FC236}">
                  <a16:creationId xmlns:a16="http://schemas.microsoft.com/office/drawing/2014/main" id="{82A72757-D9B7-907A-DF59-10417437898A}"/>
                </a:ext>
              </a:extLst>
            </p:cNvPr>
            <p:cNvGrpSpPr/>
            <p:nvPr/>
          </p:nvGrpSpPr>
          <p:grpSpPr>
            <a:xfrm>
              <a:off x="5794637" y="3563300"/>
              <a:ext cx="372370" cy="306680"/>
              <a:chOff x="1752600" y="177800"/>
              <a:chExt cx="585788" cy="484188"/>
            </a:xfrm>
          </p:grpSpPr>
          <p:sp>
            <p:nvSpPr>
              <p:cNvPr id="74" name="Freeform 91">
                <a:extLst>
                  <a:ext uri="{FF2B5EF4-FFF2-40B4-BE49-F238E27FC236}">
                    <a16:creationId xmlns:a16="http://schemas.microsoft.com/office/drawing/2014/main" id="{96448517-AA10-5427-CDCB-7EF6B64922E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752600" y="177800"/>
                <a:ext cx="585788" cy="484188"/>
              </a:xfrm>
              <a:custGeom>
                <a:avLst/>
                <a:gdLst>
                  <a:gd name="T0" fmla="*/ 121 w 241"/>
                  <a:gd name="T1" fmla="*/ 0 h 199"/>
                  <a:gd name="T2" fmla="*/ 0 w 241"/>
                  <a:gd name="T3" fmla="*/ 120 h 199"/>
                  <a:gd name="T4" fmla="*/ 28 w 241"/>
                  <a:gd name="T5" fmla="*/ 197 h 199"/>
                  <a:gd name="T6" fmla="*/ 32 w 241"/>
                  <a:gd name="T7" fmla="*/ 199 h 199"/>
                  <a:gd name="T8" fmla="*/ 209 w 241"/>
                  <a:gd name="T9" fmla="*/ 199 h 199"/>
                  <a:gd name="T10" fmla="*/ 213 w 241"/>
                  <a:gd name="T11" fmla="*/ 197 h 199"/>
                  <a:gd name="T12" fmla="*/ 241 w 241"/>
                  <a:gd name="T13" fmla="*/ 120 h 199"/>
                  <a:gd name="T14" fmla="*/ 121 w 241"/>
                  <a:gd name="T15" fmla="*/ 0 h 199"/>
                  <a:gd name="T16" fmla="*/ 207 w 241"/>
                  <a:gd name="T17" fmla="*/ 189 h 199"/>
                  <a:gd name="T18" fmla="*/ 34 w 241"/>
                  <a:gd name="T19" fmla="*/ 189 h 199"/>
                  <a:gd name="T20" fmla="*/ 10 w 241"/>
                  <a:gd name="T21" fmla="*/ 120 h 199"/>
                  <a:gd name="T22" fmla="*/ 121 w 241"/>
                  <a:gd name="T23" fmla="*/ 10 h 199"/>
                  <a:gd name="T24" fmla="*/ 231 w 241"/>
                  <a:gd name="T25" fmla="*/ 120 h 199"/>
                  <a:gd name="T26" fmla="*/ 207 w 241"/>
                  <a:gd name="T27" fmla="*/ 189 h 1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241" h="199">
                    <a:moveTo>
                      <a:pt x="121" y="0"/>
                    </a:moveTo>
                    <a:cubicBezTo>
                      <a:pt x="54" y="0"/>
                      <a:pt x="0" y="54"/>
                      <a:pt x="0" y="120"/>
                    </a:cubicBezTo>
                    <a:cubicBezTo>
                      <a:pt x="0" y="148"/>
                      <a:pt x="10" y="176"/>
                      <a:pt x="28" y="197"/>
                    </a:cubicBezTo>
                    <a:cubicBezTo>
                      <a:pt x="29" y="198"/>
                      <a:pt x="30" y="199"/>
                      <a:pt x="32" y="199"/>
                    </a:cubicBezTo>
                    <a:cubicBezTo>
                      <a:pt x="209" y="199"/>
                      <a:pt x="209" y="199"/>
                      <a:pt x="209" y="199"/>
                    </a:cubicBezTo>
                    <a:cubicBezTo>
                      <a:pt x="211" y="199"/>
                      <a:pt x="212" y="198"/>
                      <a:pt x="213" y="197"/>
                    </a:cubicBezTo>
                    <a:cubicBezTo>
                      <a:pt x="231" y="176"/>
                      <a:pt x="241" y="148"/>
                      <a:pt x="241" y="120"/>
                    </a:cubicBezTo>
                    <a:cubicBezTo>
                      <a:pt x="241" y="54"/>
                      <a:pt x="187" y="0"/>
                      <a:pt x="121" y="0"/>
                    </a:cubicBezTo>
                    <a:close/>
                    <a:moveTo>
                      <a:pt x="207" y="189"/>
                    </a:moveTo>
                    <a:cubicBezTo>
                      <a:pt x="34" y="189"/>
                      <a:pt x="34" y="189"/>
                      <a:pt x="34" y="189"/>
                    </a:cubicBezTo>
                    <a:cubicBezTo>
                      <a:pt x="19" y="170"/>
                      <a:pt x="10" y="145"/>
                      <a:pt x="10" y="120"/>
                    </a:cubicBezTo>
                    <a:cubicBezTo>
                      <a:pt x="10" y="59"/>
                      <a:pt x="60" y="10"/>
                      <a:pt x="121" y="10"/>
                    </a:cubicBezTo>
                    <a:cubicBezTo>
                      <a:pt x="182" y="10"/>
                      <a:pt x="231" y="59"/>
                      <a:pt x="231" y="120"/>
                    </a:cubicBezTo>
                    <a:cubicBezTo>
                      <a:pt x="231" y="145"/>
                      <a:pt x="223" y="170"/>
                      <a:pt x="207" y="189"/>
                    </a:cubicBezTo>
                    <a:close/>
                  </a:path>
                </a:pathLst>
              </a:custGeom>
              <a:solidFill>
                <a:srgbClr val="231F2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sz="1800" dirty="0">
                  <a:solidFill>
                    <a:prstClr val="black"/>
                  </a:solidFill>
                  <a:latin typeface="Arial"/>
                </a:endParaRPr>
              </a:p>
            </p:txBody>
          </p:sp>
          <p:sp>
            <p:nvSpPr>
              <p:cNvPr id="75" name="Freeform 92">
                <a:extLst>
                  <a:ext uri="{FF2B5EF4-FFF2-40B4-BE49-F238E27FC236}">
                    <a16:creationId xmlns:a16="http://schemas.microsoft.com/office/drawing/2014/main" id="{F2E3D46A-04AE-9CB5-DD03-D7A8B57A2C3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884363" y="373063"/>
                <a:ext cx="214313" cy="215900"/>
              </a:xfrm>
              <a:custGeom>
                <a:avLst/>
                <a:gdLst>
                  <a:gd name="T0" fmla="*/ 80 w 88"/>
                  <a:gd name="T1" fmla="*/ 51 h 89"/>
                  <a:gd name="T2" fmla="*/ 79 w 88"/>
                  <a:gd name="T3" fmla="*/ 50 h 89"/>
                  <a:gd name="T4" fmla="*/ 23 w 88"/>
                  <a:gd name="T5" fmla="*/ 5 h 89"/>
                  <a:gd name="T6" fmla="*/ 23 w 88"/>
                  <a:gd name="T7" fmla="*/ 4 h 89"/>
                  <a:gd name="T8" fmla="*/ 4 w 88"/>
                  <a:gd name="T9" fmla="*/ 5 h 89"/>
                  <a:gd name="T10" fmla="*/ 0 w 88"/>
                  <a:gd name="T11" fmla="*/ 15 h 89"/>
                  <a:gd name="T12" fmla="*/ 3 w 88"/>
                  <a:gd name="T13" fmla="*/ 24 h 89"/>
                  <a:gd name="T14" fmla="*/ 3 w 88"/>
                  <a:gd name="T15" fmla="*/ 24 h 89"/>
                  <a:gd name="T16" fmla="*/ 49 w 88"/>
                  <a:gd name="T17" fmla="*/ 80 h 89"/>
                  <a:gd name="T18" fmla="*/ 52 w 88"/>
                  <a:gd name="T19" fmla="*/ 82 h 89"/>
                  <a:gd name="T20" fmla="*/ 52 w 88"/>
                  <a:gd name="T21" fmla="*/ 83 h 89"/>
                  <a:gd name="T22" fmla="*/ 67 w 88"/>
                  <a:gd name="T23" fmla="*/ 89 h 89"/>
                  <a:gd name="T24" fmla="*/ 88 w 88"/>
                  <a:gd name="T25" fmla="*/ 68 h 89"/>
                  <a:gd name="T26" fmla="*/ 80 w 88"/>
                  <a:gd name="T27" fmla="*/ 51 h 89"/>
                  <a:gd name="T28" fmla="*/ 67 w 88"/>
                  <a:gd name="T29" fmla="*/ 79 h 89"/>
                  <a:gd name="T30" fmla="*/ 59 w 88"/>
                  <a:gd name="T31" fmla="*/ 76 h 89"/>
                  <a:gd name="T32" fmla="*/ 59 w 88"/>
                  <a:gd name="T33" fmla="*/ 76 h 89"/>
                  <a:gd name="T34" fmla="*/ 58 w 88"/>
                  <a:gd name="T35" fmla="*/ 74 h 89"/>
                  <a:gd name="T36" fmla="*/ 57 w 88"/>
                  <a:gd name="T37" fmla="*/ 73 h 89"/>
                  <a:gd name="T38" fmla="*/ 11 w 88"/>
                  <a:gd name="T39" fmla="*/ 18 h 89"/>
                  <a:gd name="T40" fmla="*/ 11 w 88"/>
                  <a:gd name="T41" fmla="*/ 18 h 89"/>
                  <a:gd name="T42" fmla="*/ 10 w 88"/>
                  <a:gd name="T43" fmla="*/ 15 h 89"/>
                  <a:gd name="T44" fmla="*/ 11 w 88"/>
                  <a:gd name="T45" fmla="*/ 12 h 89"/>
                  <a:gd name="T46" fmla="*/ 17 w 88"/>
                  <a:gd name="T47" fmla="*/ 12 h 89"/>
                  <a:gd name="T48" fmla="*/ 18 w 88"/>
                  <a:gd name="T49" fmla="*/ 12 h 89"/>
                  <a:gd name="T50" fmla="*/ 73 w 88"/>
                  <a:gd name="T51" fmla="*/ 59 h 89"/>
                  <a:gd name="T52" fmla="*/ 78 w 88"/>
                  <a:gd name="T53" fmla="*/ 68 h 89"/>
                  <a:gd name="T54" fmla="*/ 67 w 88"/>
                  <a:gd name="T55" fmla="*/ 79 h 8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88" h="89">
                    <a:moveTo>
                      <a:pt x="80" y="51"/>
                    </a:moveTo>
                    <a:cubicBezTo>
                      <a:pt x="79" y="51"/>
                      <a:pt x="79" y="51"/>
                      <a:pt x="79" y="50"/>
                    </a:cubicBezTo>
                    <a:cubicBezTo>
                      <a:pt x="23" y="5"/>
                      <a:pt x="23" y="5"/>
                      <a:pt x="23" y="5"/>
                    </a:cubicBezTo>
                    <a:cubicBezTo>
                      <a:pt x="23" y="4"/>
                      <a:pt x="23" y="4"/>
                      <a:pt x="23" y="4"/>
                    </a:cubicBezTo>
                    <a:cubicBezTo>
                      <a:pt x="17" y="0"/>
                      <a:pt x="9" y="1"/>
                      <a:pt x="4" y="5"/>
                    </a:cubicBezTo>
                    <a:cubicBezTo>
                      <a:pt x="2" y="8"/>
                      <a:pt x="0" y="12"/>
                      <a:pt x="0" y="15"/>
                    </a:cubicBezTo>
                    <a:cubicBezTo>
                      <a:pt x="0" y="18"/>
                      <a:pt x="1" y="21"/>
                      <a:pt x="3" y="24"/>
                    </a:cubicBezTo>
                    <a:cubicBezTo>
                      <a:pt x="3" y="24"/>
                      <a:pt x="3" y="24"/>
                      <a:pt x="3" y="24"/>
                    </a:cubicBezTo>
                    <a:cubicBezTo>
                      <a:pt x="49" y="80"/>
                      <a:pt x="49" y="80"/>
                      <a:pt x="49" y="80"/>
                    </a:cubicBezTo>
                    <a:cubicBezTo>
                      <a:pt x="50" y="81"/>
                      <a:pt x="51" y="82"/>
                      <a:pt x="52" y="82"/>
                    </a:cubicBezTo>
                    <a:cubicBezTo>
                      <a:pt x="52" y="82"/>
                      <a:pt x="52" y="83"/>
                      <a:pt x="52" y="83"/>
                    </a:cubicBezTo>
                    <a:cubicBezTo>
                      <a:pt x="56" y="87"/>
                      <a:pt x="61" y="89"/>
                      <a:pt x="67" y="89"/>
                    </a:cubicBezTo>
                    <a:cubicBezTo>
                      <a:pt x="79" y="89"/>
                      <a:pt x="88" y="80"/>
                      <a:pt x="88" y="68"/>
                    </a:cubicBezTo>
                    <a:cubicBezTo>
                      <a:pt x="88" y="61"/>
                      <a:pt x="85" y="55"/>
                      <a:pt x="80" y="51"/>
                    </a:cubicBezTo>
                    <a:close/>
                    <a:moveTo>
                      <a:pt x="67" y="79"/>
                    </a:moveTo>
                    <a:cubicBezTo>
                      <a:pt x="64" y="79"/>
                      <a:pt x="61" y="78"/>
                      <a:pt x="59" y="76"/>
                    </a:cubicBezTo>
                    <a:cubicBezTo>
                      <a:pt x="59" y="76"/>
                      <a:pt x="59" y="76"/>
                      <a:pt x="59" y="76"/>
                    </a:cubicBezTo>
                    <a:cubicBezTo>
                      <a:pt x="58" y="75"/>
                      <a:pt x="58" y="75"/>
                      <a:pt x="58" y="74"/>
                    </a:cubicBezTo>
                    <a:cubicBezTo>
                      <a:pt x="57" y="74"/>
                      <a:pt x="57" y="74"/>
                      <a:pt x="57" y="73"/>
                    </a:cubicBezTo>
                    <a:cubicBezTo>
                      <a:pt x="11" y="18"/>
                      <a:pt x="11" y="18"/>
                      <a:pt x="11" y="18"/>
                    </a:cubicBezTo>
                    <a:cubicBezTo>
                      <a:pt x="11" y="18"/>
                      <a:pt x="11" y="18"/>
                      <a:pt x="11" y="18"/>
                    </a:cubicBezTo>
                    <a:cubicBezTo>
                      <a:pt x="11" y="17"/>
                      <a:pt x="10" y="16"/>
                      <a:pt x="10" y="15"/>
                    </a:cubicBezTo>
                    <a:cubicBezTo>
                      <a:pt x="10" y="14"/>
                      <a:pt x="11" y="13"/>
                      <a:pt x="11" y="12"/>
                    </a:cubicBezTo>
                    <a:cubicBezTo>
                      <a:pt x="13" y="11"/>
                      <a:pt x="16" y="11"/>
                      <a:pt x="17" y="12"/>
                    </a:cubicBezTo>
                    <a:cubicBezTo>
                      <a:pt x="17" y="12"/>
                      <a:pt x="17" y="12"/>
                      <a:pt x="18" y="12"/>
                    </a:cubicBezTo>
                    <a:cubicBezTo>
                      <a:pt x="73" y="59"/>
                      <a:pt x="73" y="59"/>
                      <a:pt x="73" y="59"/>
                    </a:cubicBezTo>
                    <a:cubicBezTo>
                      <a:pt x="76" y="61"/>
                      <a:pt x="78" y="64"/>
                      <a:pt x="78" y="68"/>
                    </a:cubicBezTo>
                    <a:cubicBezTo>
                      <a:pt x="78" y="74"/>
                      <a:pt x="73" y="79"/>
                      <a:pt x="67" y="79"/>
                    </a:cubicBezTo>
                    <a:close/>
                  </a:path>
                </a:pathLst>
              </a:custGeom>
              <a:solidFill>
                <a:srgbClr val="231F2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sz="1800" dirty="0">
                  <a:solidFill>
                    <a:prstClr val="black"/>
                  </a:solidFill>
                  <a:latin typeface="Arial"/>
                </a:endParaRPr>
              </a:p>
            </p:txBody>
          </p:sp>
          <p:sp>
            <p:nvSpPr>
              <p:cNvPr id="76" name="Freeform 93">
                <a:extLst>
                  <a:ext uri="{FF2B5EF4-FFF2-40B4-BE49-F238E27FC236}">
                    <a16:creationId xmlns:a16="http://schemas.microsoft.com/office/drawing/2014/main" id="{1A9A72AA-665B-3180-94FA-E2AF096F766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12925" y="461963"/>
                <a:ext cx="46038" cy="25400"/>
              </a:xfrm>
              <a:custGeom>
                <a:avLst/>
                <a:gdLst>
                  <a:gd name="T0" fmla="*/ 14 w 19"/>
                  <a:gd name="T1" fmla="*/ 0 h 10"/>
                  <a:gd name="T2" fmla="*/ 5 w 19"/>
                  <a:gd name="T3" fmla="*/ 0 h 10"/>
                  <a:gd name="T4" fmla="*/ 0 w 19"/>
                  <a:gd name="T5" fmla="*/ 5 h 10"/>
                  <a:gd name="T6" fmla="*/ 5 w 19"/>
                  <a:gd name="T7" fmla="*/ 10 h 10"/>
                  <a:gd name="T8" fmla="*/ 14 w 19"/>
                  <a:gd name="T9" fmla="*/ 10 h 10"/>
                  <a:gd name="T10" fmla="*/ 19 w 19"/>
                  <a:gd name="T11" fmla="*/ 5 h 10"/>
                  <a:gd name="T12" fmla="*/ 14 w 19"/>
                  <a:gd name="T13" fmla="*/ 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9" h="10">
                    <a:moveTo>
                      <a:pt x="14" y="0"/>
                    </a:moveTo>
                    <a:cubicBezTo>
                      <a:pt x="5" y="0"/>
                      <a:pt x="5" y="0"/>
                      <a:pt x="5" y="0"/>
                    </a:cubicBezTo>
                    <a:cubicBezTo>
                      <a:pt x="2" y="0"/>
                      <a:pt x="0" y="2"/>
                      <a:pt x="0" y="5"/>
                    </a:cubicBezTo>
                    <a:cubicBezTo>
                      <a:pt x="0" y="7"/>
                      <a:pt x="2" y="10"/>
                      <a:pt x="5" y="10"/>
                    </a:cubicBezTo>
                    <a:cubicBezTo>
                      <a:pt x="14" y="10"/>
                      <a:pt x="14" y="10"/>
                      <a:pt x="14" y="10"/>
                    </a:cubicBezTo>
                    <a:cubicBezTo>
                      <a:pt x="17" y="10"/>
                      <a:pt x="19" y="7"/>
                      <a:pt x="19" y="5"/>
                    </a:cubicBezTo>
                    <a:cubicBezTo>
                      <a:pt x="19" y="2"/>
                      <a:pt x="17" y="0"/>
                      <a:pt x="14" y="0"/>
                    </a:cubicBezTo>
                    <a:close/>
                  </a:path>
                </a:pathLst>
              </a:custGeom>
              <a:solidFill>
                <a:srgbClr val="231F2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sz="1800" dirty="0">
                  <a:solidFill>
                    <a:prstClr val="black"/>
                  </a:solidFill>
                  <a:latin typeface="Arial"/>
                </a:endParaRPr>
              </a:p>
            </p:txBody>
          </p:sp>
          <p:sp>
            <p:nvSpPr>
              <p:cNvPr id="77" name="Freeform 94">
                <a:extLst>
                  <a:ext uri="{FF2B5EF4-FFF2-40B4-BE49-F238E27FC236}">
                    <a16:creationId xmlns:a16="http://schemas.microsoft.com/office/drawing/2014/main" id="{F2D45BF1-5506-7EAC-6DD8-0D8A2DB08E9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71663" y="304800"/>
                <a:ext cx="41275" cy="41275"/>
              </a:xfrm>
              <a:custGeom>
                <a:avLst/>
                <a:gdLst>
                  <a:gd name="T0" fmla="*/ 12 w 17"/>
                  <a:gd name="T1" fmla="*/ 17 h 17"/>
                  <a:gd name="T2" fmla="*/ 16 w 17"/>
                  <a:gd name="T3" fmla="*/ 16 h 17"/>
                  <a:gd name="T4" fmla="*/ 16 w 17"/>
                  <a:gd name="T5" fmla="*/ 9 h 17"/>
                  <a:gd name="T6" fmla="*/ 9 w 17"/>
                  <a:gd name="T7" fmla="*/ 2 h 17"/>
                  <a:gd name="T8" fmla="*/ 2 w 17"/>
                  <a:gd name="T9" fmla="*/ 2 h 17"/>
                  <a:gd name="T10" fmla="*/ 2 w 17"/>
                  <a:gd name="T11" fmla="*/ 9 h 17"/>
                  <a:gd name="T12" fmla="*/ 9 w 17"/>
                  <a:gd name="T13" fmla="*/ 16 h 17"/>
                  <a:gd name="T14" fmla="*/ 12 w 17"/>
                  <a:gd name="T15" fmla="*/ 17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7" h="17">
                    <a:moveTo>
                      <a:pt x="12" y="17"/>
                    </a:moveTo>
                    <a:cubicBezTo>
                      <a:pt x="13" y="17"/>
                      <a:pt x="15" y="17"/>
                      <a:pt x="16" y="16"/>
                    </a:cubicBezTo>
                    <a:cubicBezTo>
                      <a:pt x="17" y="14"/>
                      <a:pt x="17" y="11"/>
                      <a:pt x="16" y="9"/>
                    </a:cubicBezTo>
                    <a:cubicBezTo>
                      <a:pt x="9" y="2"/>
                      <a:pt x="9" y="2"/>
                      <a:pt x="9" y="2"/>
                    </a:cubicBezTo>
                    <a:cubicBezTo>
                      <a:pt x="7" y="0"/>
                      <a:pt x="4" y="0"/>
                      <a:pt x="2" y="2"/>
                    </a:cubicBezTo>
                    <a:cubicBezTo>
                      <a:pt x="0" y="4"/>
                      <a:pt x="0" y="7"/>
                      <a:pt x="2" y="9"/>
                    </a:cubicBezTo>
                    <a:cubicBezTo>
                      <a:pt x="9" y="16"/>
                      <a:pt x="9" y="16"/>
                      <a:pt x="9" y="16"/>
                    </a:cubicBezTo>
                    <a:cubicBezTo>
                      <a:pt x="10" y="17"/>
                      <a:pt x="11" y="17"/>
                      <a:pt x="12" y="17"/>
                    </a:cubicBezTo>
                    <a:close/>
                  </a:path>
                </a:pathLst>
              </a:custGeom>
              <a:solidFill>
                <a:srgbClr val="231F2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sz="1800" dirty="0">
                  <a:solidFill>
                    <a:prstClr val="black"/>
                  </a:solidFill>
                  <a:latin typeface="Arial"/>
                </a:endParaRPr>
              </a:p>
            </p:txBody>
          </p:sp>
          <p:sp>
            <p:nvSpPr>
              <p:cNvPr id="78" name="Freeform 95">
                <a:extLst>
                  <a:ext uri="{FF2B5EF4-FFF2-40B4-BE49-F238E27FC236}">
                    <a16:creationId xmlns:a16="http://schemas.microsoft.com/office/drawing/2014/main" id="{5CA35F6A-D6F7-F149-7CB3-DDD9C4B8226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36763" y="236538"/>
                <a:ext cx="25400" cy="46038"/>
              </a:xfrm>
              <a:custGeom>
                <a:avLst/>
                <a:gdLst>
                  <a:gd name="T0" fmla="*/ 5 w 10"/>
                  <a:gd name="T1" fmla="*/ 19 h 19"/>
                  <a:gd name="T2" fmla="*/ 10 w 10"/>
                  <a:gd name="T3" fmla="*/ 14 h 19"/>
                  <a:gd name="T4" fmla="*/ 10 w 10"/>
                  <a:gd name="T5" fmla="*/ 5 h 19"/>
                  <a:gd name="T6" fmla="*/ 5 w 10"/>
                  <a:gd name="T7" fmla="*/ 0 h 19"/>
                  <a:gd name="T8" fmla="*/ 0 w 10"/>
                  <a:gd name="T9" fmla="*/ 5 h 19"/>
                  <a:gd name="T10" fmla="*/ 0 w 10"/>
                  <a:gd name="T11" fmla="*/ 14 h 19"/>
                  <a:gd name="T12" fmla="*/ 5 w 10"/>
                  <a:gd name="T13" fmla="*/ 1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0" h="19">
                    <a:moveTo>
                      <a:pt x="5" y="19"/>
                    </a:moveTo>
                    <a:cubicBezTo>
                      <a:pt x="7" y="19"/>
                      <a:pt x="10" y="16"/>
                      <a:pt x="10" y="14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2"/>
                      <a:pt x="7" y="0"/>
                      <a:pt x="5" y="0"/>
                    </a:cubicBezTo>
                    <a:cubicBezTo>
                      <a:pt x="2" y="0"/>
                      <a:pt x="0" y="2"/>
                      <a:pt x="0" y="5"/>
                    </a:cubicBezTo>
                    <a:cubicBezTo>
                      <a:pt x="0" y="14"/>
                      <a:pt x="0" y="14"/>
                      <a:pt x="0" y="14"/>
                    </a:cubicBezTo>
                    <a:cubicBezTo>
                      <a:pt x="0" y="16"/>
                      <a:pt x="2" y="19"/>
                      <a:pt x="5" y="19"/>
                    </a:cubicBezTo>
                    <a:close/>
                  </a:path>
                </a:pathLst>
              </a:custGeom>
              <a:solidFill>
                <a:srgbClr val="231F2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sz="1800" dirty="0">
                  <a:solidFill>
                    <a:prstClr val="black"/>
                  </a:solidFill>
                  <a:latin typeface="Arial"/>
                </a:endParaRPr>
              </a:p>
            </p:txBody>
          </p:sp>
          <p:sp>
            <p:nvSpPr>
              <p:cNvPr id="79" name="Freeform 96">
                <a:extLst>
                  <a:ext uri="{FF2B5EF4-FFF2-40B4-BE49-F238E27FC236}">
                    <a16:creationId xmlns:a16="http://schemas.microsoft.com/office/drawing/2014/main" id="{EC8811B4-9148-515A-8630-7C6574FC7B0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81225" y="304800"/>
                <a:ext cx="42863" cy="41275"/>
              </a:xfrm>
              <a:custGeom>
                <a:avLst/>
                <a:gdLst>
                  <a:gd name="T0" fmla="*/ 9 w 18"/>
                  <a:gd name="T1" fmla="*/ 2 h 17"/>
                  <a:gd name="T2" fmla="*/ 2 w 18"/>
                  <a:gd name="T3" fmla="*/ 9 h 17"/>
                  <a:gd name="T4" fmla="*/ 2 w 18"/>
                  <a:gd name="T5" fmla="*/ 16 h 17"/>
                  <a:gd name="T6" fmla="*/ 6 w 18"/>
                  <a:gd name="T7" fmla="*/ 17 h 17"/>
                  <a:gd name="T8" fmla="*/ 9 w 18"/>
                  <a:gd name="T9" fmla="*/ 16 h 17"/>
                  <a:gd name="T10" fmla="*/ 16 w 18"/>
                  <a:gd name="T11" fmla="*/ 9 h 17"/>
                  <a:gd name="T12" fmla="*/ 16 w 18"/>
                  <a:gd name="T13" fmla="*/ 2 h 17"/>
                  <a:gd name="T14" fmla="*/ 9 w 18"/>
                  <a:gd name="T15" fmla="*/ 2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8" h="17">
                    <a:moveTo>
                      <a:pt x="9" y="2"/>
                    </a:moveTo>
                    <a:cubicBezTo>
                      <a:pt x="2" y="9"/>
                      <a:pt x="2" y="9"/>
                      <a:pt x="2" y="9"/>
                    </a:cubicBezTo>
                    <a:cubicBezTo>
                      <a:pt x="0" y="11"/>
                      <a:pt x="0" y="14"/>
                      <a:pt x="2" y="16"/>
                    </a:cubicBezTo>
                    <a:cubicBezTo>
                      <a:pt x="3" y="17"/>
                      <a:pt x="5" y="17"/>
                      <a:pt x="6" y="17"/>
                    </a:cubicBezTo>
                    <a:cubicBezTo>
                      <a:pt x="7" y="17"/>
                      <a:pt x="8" y="17"/>
                      <a:pt x="9" y="16"/>
                    </a:cubicBezTo>
                    <a:cubicBezTo>
                      <a:pt x="16" y="9"/>
                      <a:pt x="16" y="9"/>
                      <a:pt x="16" y="9"/>
                    </a:cubicBezTo>
                    <a:cubicBezTo>
                      <a:pt x="18" y="7"/>
                      <a:pt x="18" y="4"/>
                      <a:pt x="16" y="2"/>
                    </a:cubicBezTo>
                    <a:cubicBezTo>
                      <a:pt x="14" y="0"/>
                      <a:pt x="11" y="0"/>
                      <a:pt x="9" y="2"/>
                    </a:cubicBezTo>
                    <a:close/>
                  </a:path>
                </a:pathLst>
              </a:custGeom>
              <a:solidFill>
                <a:srgbClr val="231F2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sz="1800" dirty="0">
                  <a:solidFill>
                    <a:prstClr val="black"/>
                  </a:solidFill>
                  <a:latin typeface="Arial"/>
                </a:endParaRPr>
              </a:p>
            </p:txBody>
          </p:sp>
          <p:sp>
            <p:nvSpPr>
              <p:cNvPr id="80" name="Freeform 97">
                <a:extLst>
                  <a:ext uri="{FF2B5EF4-FFF2-40B4-BE49-F238E27FC236}">
                    <a16:creationId xmlns:a16="http://schemas.microsoft.com/office/drawing/2014/main" id="{FC30BF53-C770-351B-D01F-A34B968DB4C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32025" y="461963"/>
                <a:ext cx="46038" cy="25400"/>
              </a:xfrm>
              <a:custGeom>
                <a:avLst/>
                <a:gdLst>
                  <a:gd name="T0" fmla="*/ 14 w 19"/>
                  <a:gd name="T1" fmla="*/ 0 h 10"/>
                  <a:gd name="T2" fmla="*/ 5 w 19"/>
                  <a:gd name="T3" fmla="*/ 0 h 10"/>
                  <a:gd name="T4" fmla="*/ 0 w 19"/>
                  <a:gd name="T5" fmla="*/ 5 h 10"/>
                  <a:gd name="T6" fmla="*/ 5 w 19"/>
                  <a:gd name="T7" fmla="*/ 10 h 10"/>
                  <a:gd name="T8" fmla="*/ 14 w 19"/>
                  <a:gd name="T9" fmla="*/ 10 h 10"/>
                  <a:gd name="T10" fmla="*/ 19 w 19"/>
                  <a:gd name="T11" fmla="*/ 5 h 10"/>
                  <a:gd name="T12" fmla="*/ 14 w 19"/>
                  <a:gd name="T13" fmla="*/ 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9" h="10">
                    <a:moveTo>
                      <a:pt x="14" y="0"/>
                    </a:moveTo>
                    <a:cubicBezTo>
                      <a:pt x="5" y="0"/>
                      <a:pt x="5" y="0"/>
                      <a:pt x="5" y="0"/>
                    </a:cubicBezTo>
                    <a:cubicBezTo>
                      <a:pt x="2" y="0"/>
                      <a:pt x="0" y="2"/>
                      <a:pt x="0" y="5"/>
                    </a:cubicBezTo>
                    <a:cubicBezTo>
                      <a:pt x="0" y="7"/>
                      <a:pt x="2" y="10"/>
                      <a:pt x="5" y="10"/>
                    </a:cubicBezTo>
                    <a:cubicBezTo>
                      <a:pt x="14" y="10"/>
                      <a:pt x="14" y="10"/>
                      <a:pt x="14" y="10"/>
                    </a:cubicBezTo>
                    <a:cubicBezTo>
                      <a:pt x="17" y="10"/>
                      <a:pt x="19" y="7"/>
                      <a:pt x="19" y="5"/>
                    </a:cubicBezTo>
                    <a:cubicBezTo>
                      <a:pt x="19" y="2"/>
                      <a:pt x="17" y="0"/>
                      <a:pt x="14" y="0"/>
                    </a:cubicBezTo>
                    <a:close/>
                  </a:path>
                </a:pathLst>
              </a:custGeom>
              <a:solidFill>
                <a:srgbClr val="231F2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sz="1800" dirty="0">
                  <a:solidFill>
                    <a:prstClr val="black"/>
                  </a:solidFill>
                  <a:latin typeface="Arial"/>
                </a:endParaRPr>
              </a:p>
            </p:txBody>
          </p:sp>
        </p:grpSp>
      </p:grpSp>
      <p:grpSp>
        <p:nvGrpSpPr>
          <p:cNvPr id="98" name="Group 97">
            <a:extLst>
              <a:ext uri="{FF2B5EF4-FFF2-40B4-BE49-F238E27FC236}">
                <a16:creationId xmlns:a16="http://schemas.microsoft.com/office/drawing/2014/main" id="{84710777-0E58-9373-5D1B-21EF4050C0B5}"/>
              </a:ext>
            </a:extLst>
          </p:cNvPr>
          <p:cNvGrpSpPr/>
          <p:nvPr/>
        </p:nvGrpSpPr>
        <p:grpSpPr>
          <a:xfrm>
            <a:off x="5385923" y="1515652"/>
            <a:ext cx="213210" cy="2955827"/>
            <a:chOff x="5385923" y="1515652"/>
            <a:chExt cx="213210" cy="2955827"/>
          </a:xfrm>
        </p:grpSpPr>
        <p:sp>
          <p:nvSpPr>
            <p:cNvPr id="91" name="Freeform 70">
              <a:extLst>
                <a:ext uri="{FF2B5EF4-FFF2-40B4-BE49-F238E27FC236}">
                  <a16:creationId xmlns:a16="http://schemas.microsoft.com/office/drawing/2014/main" id="{84B9274F-70B1-0348-FB97-AB8BEB6A91CD}"/>
                </a:ext>
              </a:extLst>
            </p:cNvPr>
            <p:cNvSpPr>
              <a:spLocks noEditPoints="1"/>
            </p:cNvSpPr>
            <p:nvPr/>
          </p:nvSpPr>
          <p:spPr bwMode="auto">
            <a:xfrm rot="5400000" flipV="1">
              <a:off x="4005797" y="2976391"/>
              <a:ext cx="2955827" cy="34350"/>
            </a:xfrm>
            <a:custGeom>
              <a:avLst/>
              <a:gdLst>
                <a:gd name="T0" fmla="*/ 75 w 655"/>
                <a:gd name="T1" fmla="*/ 7 h 10"/>
                <a:gd name="T2" fmla="*/ 80 w 655"/>
                <a:gd name="T3" fmla="*/ 7 h 10"/>
                <a:gd name="T4" fmla="*/ 97 w 655"/>
                <a:gd name="T5" fmla="*/ 8 h 10"/>
                <a:gd name="T6" fmla="*/ 133 w 655"/>
                <a:gd name="T7" fmla="*/ 8 h 10"/>
                <a:gd name="T8" fmla="*/ 156 w 655"/>
                <a:gd name="T9" fmla="*/ 7 h 10"/>
                <a:gd name="T10" fmla="*/ 193 w 655"/>
                <a:gd name="T11" fmla="*/ 7 h 10"/>
                <a:gd name="T12" fmla="*/ 208 w 655"/>
                <a:gd name="T13" fmla="*/ 8 h 10"/>
                <a:gd name="T14" fmla="*/ 229 w 655"/>
                <a:gd name="T15" fmla="*/ 7 h 10"/>
                <a:gd name="T16" fmla="*/ 250 w 655"/>
                <a:gd name="T17" fmla="*/ 7 h 10"/>
                <a:gd name="T18" fmla="*/ 274 w 655"/>
                <a:gd name="T19" fmla="*/ 7 h 10"/>
                <a:gd name="T20" fmla="*/ 326 w 655"/>
                <a:gd name="T21" fmla="*/ 8 h 10"/>
                <a:gd name="T22" fmla="*/ 385 w 655"/>
                <a:gd name="T23" fmla="*/ 8 h 10"/>
                <a:gd name="T24" fmla="*/ 412 w 655"/>
                <a:gd name="T25" fmla="*/ 7 h 10"/>
                <a:gd name="T26" fmla="*/ 456 w 655"/>
                <a:gd name="T27" fmla="*/ 7 h 10"/>
                <a:gd name="T28" fmla="*/ 474 w 655"/>
                <a:gd name="T29" fmla="*/ 8 h 10"/>
                <a:gd name="T30" fmla="*/ 496 w 655"/>
                <a:gd name="T31" fmla="*/ 6 h 10"/>
                <a:gd name="T32" fmla="*/ 505 w 655"/>
                <a:gd name="T33" fmla="*/ 6 h 10"/>
                <a:gd name="T34" fmla="*/ 521 w 655"/>
                <a:gd name="T35" fmla="*/ 6 h 10"/>
                <a:gd name="T36" fmla="*/ 547 w 655"/>
                <a:gd name="T37" fmla="*/ 6 h 10"/>
                <a:gd name="T38" fmla="*/ 569 w 655"/>
                <a:gd name="T39" fmla="*/ 6 h 10"/>
                <a:gd name="T40" fmla="*/ 593 w 655"/>
                <a:gd name="T41" fmla="*/ 6 h 10"/>
                <a:gd name="T42" fmla="*/ 604 w 655"/>
                <a:gd name="T43" fmla="*/ 6 h 10"/>
                <a:gd name="T44" fmla="*/ 620 w 655"/>
                <a:gd name="T45" fmla="*/ 7 h 10"/>
                <a:gd name="T46" fmla="*/ 645 w 655"/>
                <a:gd name="T47" fmla="*/ 6 h 10"/>
                <a:gd name="T48" fmla="*/ 654 w 655"/>
                <a:gd name="T49" fmla="*/ 6 h 10"/>
                <a:gd name="T50" fmla="*/ 641 w 655"/>
                <a:gd name="T51" fmla="*/ 4 h 10"/>
                <a:gd name="T52" fmla="*/ 628 w 655"/>
                <a:gd name="T53" fmla="*/ 3 h 10"/>
                <a:gd name="T54" fmla="*/ 615 w 655"/>
                <a:gd name="T55" fmla="*/ 3 h 10"/>
                <a:gd name="T56" fmla="*/ 590 w 655"/>
                <a:gd name="T57" fmla="*/ 3 h 10"/>
                <a:gd name="T58" fmla="*/ 580 w 655"/>
                <a:gd name="T59" fmla="*/ 4 h 10"/>
                <a:gd name="T60" fmla="*/ 570 w 655"/>
                <a:gd name="T61" fmla="*/ 3 h 10"/>
                <a:gd name="T62" fmla="*/ 552 w 655"/>
                <a:gd name="T63" fmla="*/ 4 h 10"/>
                <a:gd name="T64" fmla="*/ 532 w 655"/>
                <a:gd name="T65" fmla="*/ 2 h 10"/>
                <a:gd name="T66" fmla="*/ 509 w 655"/>
                <a:gd name="T67" fmla="*/ 3 h 10"/>
                <a:gd name="T68" fmla="*/ 504 w 655"/>
                <a:gd name="T69" fmla="*/ 2 h 10"/>
                <a:gd name="T70" fmla="*/ 485 w 655"/>
                <a:gd name="T71" fmla="*/ 1 h 10"/>
                <a:gd name="T72" fmla="*/ 477 w 655"/>
                <a:gd name="T73" fmla="*/ 1 h 10"/>
                <a:gd name="T74" fmla="*/ 465 w 655"/>
                <a:gd name="T75" fmla="*/ 3 h 10"/>
                <a:gd name="T76" fmla="*/ 453 w 655"/>
                <a:gd name="T77" fmla="*/ 3 h 10"/>
                <a:gd name="T78" fmla="*/ 437 w 655"/>
                <a:gd name="T79" fmla="*/ 3 h 10"/>
                <a:gd name="T80" fmla="*/ 418 w 655"/>
                <a:gd name="T81" fmla="*/ 3 h 10"/>
                <a:gd name="T82" fmla="*/ 390 w 655"/>
                <a:gd name="T83" fmla="*/ 4 h 10"/>
                <a:gd name="T84" fmla="*/ 369 w 655"/>
                <a:gd name="T85" fmla="*/ 3 h 10"/>
                <a:gd name="T86" fmla="*/ 355 w 655"/>
                <a:gd name="T87" fmla="*/ 4 h 10"/>
                <a:gd name="T88" fmla="*/ 339 w 655"/>
                <a:gd name="T89" fmla="*/ 4 h 10"/>
                <a:gd name="T90" fmla="*/ 304 w 655"/>
                <a:gd name="T91" fmla="*/ 0 h 10"/>
                <a:gd name="T92" fmla="*/ 272 w 655"/>
                <a:gd name="T93" fmla="*/ 2 h 10"/>
                <a:gd name="T94" fmla="*/ 249 w 655"/>
                <a:gd name="T95" fmla="*/ 1 h 10"/>
                <a:gd name="T96" fmla="*/ 207 w 655"/>
                <a:gd name="T97" fmla="*/ 1 h 10"/>
                <a:gd name="T98" fmla="*/ 172 w 655"/>
                <a:gd name="T99" fmla="*/ 3 h 10"/>
                <a:gd name="T100" fmla="*/ 141 w 655"/>
                <a:gd name="T101" fmla="*/ 3 h 10"/>
                <a:gd name="T102" fmla="*/ 128 w 655"/>
                <a:gd name="T103" fmla="*/ 3 h 10"/>
                <a:gd name="T104" fmla="*/ 116 w 655"/>
                <a:gd name="T105" fmla="*/ 2 h 10"/>
                <a:gd name="T106" fmla="*/ 110 w 655"/>
                <a:gd name="T107" fmla="*/ 2 h 10"/>
                <a:gd name="T108" fmla="*/ 92 w 655"/>
                <a:gd name="T109" fmla="*/ 2 h 10"/>
                <a:gd name="T110" fmla="*/ 34 w 655"/>
                <a:gd name="T111" fmla="*/ 4 h 10"/>
                <a:gd name="T112" fmla="*/ 14 w 655"/>
                <a:gd name="T113" fmla="*/ 3 h 10"/>
                <a:gd name="T114" fmla="*/ 7 w 655"/>
                <a:gd name="T115" fmla="*/ 7 h 10"/>
                <a:gd name="T116" fmla="*/ 14 w 655"/>
                <a:gd name="T117" fmla="*/ 7 h 10"/>
                <a:gd name="T118" fmla="*/ 41 w 655"/>
                <a:gd name="T119" fmla="*/ 7 h 10"/>
                <a:gd name="T120" fmla="*/ 55 w 655"/>
                <a:gd name="T121" fmla="*/ 7 h 10"/>
                <a:gd name="T122" fmla="*/ 122 w 655"/>
                <a:gd name="T123" fmla="*/ 7 h 10"/>
                <a:gd name="T124" fmla="*/ 111 w 655"/>
                <a:gd name="T125" fmla="*/ 2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655" h="10">
                  <a:moveTo>
                    <a:pt x="57" y="9"/>
                  </a:moveTo>
                  <a:cubicBezTo>
                    <a:pt x="60" y="9"/>
                    <a:pt x="58" y="8"/>
                    <a:pt x="59" y="7"/>
                  </a:cubicBezTo>
                  <a:cubicBezTo>
                    <a:pt x="62" y="7"/>
                    <a:pt x="60" y="8"/>
                    <a:pt x="61" y="9"/>
                  </a:cubicBezTo>
                  <a:cubicBezTo>
                    <a:pt x="63" y="8"/>
                    <a:pt x="65" y="7"/>
                    <a:pt x="66" y="8"/>
                  </a:cubicBezTo>
                  <a:cubicBezTo>
                    <a:pt x="66" y="8"/>
                    <a:pt x="66" y="8"/>
                    <a:pt x="66" y="8"/>
                  </a:cubicBezTo>
                  <a:cubicBezTo>
                    <a:pt x="68" y="7"/>
                    <a:pt x="72" y="8"/>
                    <a:pt x="74" y="7"/>
                  </a:cubicBezTo>
                  <a:cubicBezTo>
                    <a:pt x="75" y="7"/>
                    <a:pt x="75" y="7"/>
                    <a:pt x="75" y="7"/>
                  </a:cubicBezTo>
                  <a:cubicBezTo>
                    <a:pt x="74" y="7"/>
                    <a:pt x="74" y="6"/>
                    <a:pt x="74" y="6"/>
                  </a:cubicBezTo>
                  <a:cubicBezTo>
                    <a:pt x="75" y="6"/>
                    <a:pt x="76" y="5"/>
                    <a:pt x="77" y="6"/>
                  </a:cubicBezTo>
                  <a:cubicBezTo>
                    <a:pt x="76" y="6"/>
                    <a:pt x="76" y="6"/>
                    <a:pt x="76" y="6"/>
                  </a:cubicBezTo>
                  <a:cubicBezTo>
                    <a:pt x="77" y="6"/>
                    <a:pt x="77" y="6"/>
                    <a:pt x="77" y="6"/>
                  </a:cubicBezTo>
                  <a:cubicBezTo>
                    <a:pt x="78" y="7"/>
                    <a:pt x="75" y="6"/>
                    <a:pt x="75" y="7"/>
                  </a:cubicBezTo>
                  <a:cubicBezTo>
                    <a:pt x="78" y="7"/>
                    <a:pt x="80" y="6"/>
                    <a:pt x="82" y="6"/>
                  </a:cubicBezTo>
                  <a:cubicBezTo>
                    <a:pt x="83" y="7"/>
                    <a:pt x="78" y="7"/>
                    <a:pt x="80" y="7"/>
                  </a:cubicBezTo>
                  <a:cubicBezTo>
                    <a:pt x="78" y="7"/>
                    <a:pt x="78" y="7"/>
                    <a:pt x="78" y="7"/>
                  </a:cubicBezTo>
                  <a:cubicBezTo>
                    <a:pt x="80" y="8"/>
                    <a:pt x="76" y="7"/>
                    <a:pt x="78" y="8"/>
                  </a:cubicBezTo>
                  <a:cubicBezTo>
                    <a:pt x="82" y="9"/>
                    <a:pt x="82" y="8"/>
                    <a:pt x="86" y="8"/>
                  </a:cubicBezTo>
                  <a:cubicBezTo>
                    <a:pt x="86" y="8"/>
                    <a:pt x="85" y="7"/>
                    <a:pt x="86" y="7"/>
                  </a:cubicBezTo>
                  <a:cubicBezTo>
                    <a:pt x="91" y="6"/>
                    <a:pt x="90" y="9"/>
                    <a:pt x="94" y="8"/>
                  </a:cubicBezTo>
                  <a:cubicBezTo>
                    <a:pt x="95" y="7"/>
                    <a:pt x="95" y="6"/>
                    <a:pt x="98" y="7"/>
                  </a:cubicBezTo>
                  <a:cubicBezTo>
                    <a:pt x="97" y="8"/>
                    <a:pt x="97" y="8"/>
                    <a:pt x="97" y="8"/>
                  </a:cubicBezTo>
                  <a:cubicBezTo>
                    <a:pt x="101" y="8"/>
                    <a:pt x="99" y="6"/>
                    <a:pt x="103" y="7"/>
                  </a:cubicBezTo>
                  <a:cubicBezTo>
                    <a:pt x="102" y="8"/>
                    <a:pt x="100" y="7"/>
                    <a:pt x="101" y="8"/>
                  </a:cubicBezTo>
                  <a:cubicBezTo>
                    <a:pt x="103" y="8"/>
                    <a:pt x="102" y="7"/>
                    <a:pt x="104" y="7"/>
                  </a:cubicBezTo>
                  <a:cubicBezTo>
                    <a:pt x="105" y="8"/>
                    <a:pt x="105" y="8"/>
                    <a:pt x="105" y="8"/>
                  </a:cubicBezTo>
                  <a:cubicBezTo>
                    <a:pt x="108" y="8"/>
                    <a:pt x="113" y="7"/>
                    <a:pt x="117" y="7"/>
                  </a:cubicBezTo>
                  <a:cubicBezTo>
                    <a:pt x="116" y="7"/>
                    <a:pt x="116" y="7"/>
                    <a:pt x="117" y="8"/>
                  </a:cubicBezTo>
                  <a:cubicBezTo>
                    <a:pt x="122" y="7"/>
                    <a:pt x="128" y="8"/>
                    <a:pt x="133" y="8"/>
                  </a:cubicBezTo>
                  <a:cubicBezTo>
                    <a:pt x="135" y="8"/>
                    <a:pt x="135" y="8"/>
                    <a:pt x="135" y="8"/>
                  </a:cubicBezTo>
                  <a:cubicBezTo>
                    <a:pt x="135" y="8"/>
                    <a:pt x="136" y="8"/>
                    <a:pt x="135" y="8"/>
                  </a:cubicBezTo>
                  <a:cubicBezTo>
                    <a:pt x="137" y="8"/>
                    <a:pt x="135" y="8"/>
                    <a:pt x="136" y="7"/>
                  </a:cubicBezTo>
                  <a:cubicBezTo>
                    <a:pt x="138" y="7"/>
                    <a:pt x="138" y="8"/>
                    <a:pt x="137" y="8"/>
                  </a:cubicBezTo>
                  <a:cubicBezTo>
                    <a:pt x="141" y="7"/>
                    <a:pt x="147" y="7"/>
                    <a:pt x="151" y="7"/>
                  </a:cubicBezTo>
                  <a:cubicBezTo>
                    <a:pt x="150" y="8"/>
                    <a:pt x="150" y="8"/>
                    <a:pt x="150" y="8"/>
                  </a:cubicBezTo>
                  <a:cubicBezTo>
                    <a:pt x="153" y="8"/>
                    <a:pt x="153" y="6"/>
                    <a:pt x="156" y="7"/>
                  </a:cubicBezTo>
                  <a:cubicBezTo>
                    <a:pt x="155" y="7"/>
                    <a:pt x="155" y="7"/>
                    <a:pt x="155" y="7"/>
                  </a:cubicBezTo>
                  <a:cubicBezTo>
                    <a:pt x="162" y="7"/>
                    <a:pt x="169" y="7"/>
                    <a:pt x="173" y="8"/>
                  </a:cubicBezTo>
                  <a:cubicBezTo>
                    <a:pt x="174" y="7"/>
                    <a:pt x="179" y="8"/>
                    <a:pt x="180" y="7"/>
                  </a:cubicBezTo>
                  <a:cubicBezTo>
                    <a:pt x="183" y="7"/>
                    <a:pt x="182" y="8"/>
                    <a:pt x="187" y="8"/>
                  </a:cubicBezTo>
                  <a:cubicBezTo>
                    <a:pt x="189" y="8"/>
                    <a:pt x="189" y="7"/>
                    <a:pt x="191" y="7"/>
                  </a:cubicBezTo>
                  <a:cubicBezTo>
                    <a:pt x="191" y="8"/>
                    <a:pt x="191" y="8"/>
                    <a:pt x="191" y="8"/>
                  </a:cubicBezTo>
                  <a:cubicBezTo>
                    <a:pt x="193" y="7"/>
                    <a:pt x="193" y="7"/>
                    <a:pt x="193" y="7"/>
                  </a:cubicBezTo>
                  <a:cubicBezTo>
                    <a:pt x="194" y="8"/>
                    <a:pt x="194" y="8"/>
                    <a:pt x="194" y="8"/>
                  </a:cubicBezTo>
                  <a:cubicBezTo>
                    <a:pt x="196" y="8"/>
                    <a:pt x="196" y="8"/>
                    <a:pt x="196" y="8"/>
                  </a:cubicBezTo>
                  <a:cubicBezTo>
                    <a:pt x="195" y="8"/>
                    <a:pt x="195" y="7"/>
                    <a:pt x="195" y="7"/>
                  </a:cubicBezTo>
                  <a:cubicBezTo>
                    <a:pt x="197" y="7"/>
                    <a:pt x="201" y="8"/>
                    <a:pt x="201" y="8"/>
                  </a:cubicBezTo>
                  <a:cubicBezTo>
                    <a:pt x="207" y="8"/>
                    <a:pt x="207" y="8"/>
                    <a:pt x="207" y="8"/>
                  </a:cubicBezTo>
                  <a:cubicBezTo>
                    <a:pt x="206" y="8"/>
                    <a:pt x="205" y="8"/>
                    <a:pt x="205" y="8"/>
                  </a:cubicBezTo>
                  <a:cubicBezTo>
                    <a:pt x="208" y="7"/>
                    <a:pt x="205" y="9"/>
                    <a:pt x="208" y="8"/>
                  </a:cubicBezTo>
                  <a:cubicBezTo>
                    <a:pt x="208" y="8"/>
                    <a:pt x="208" y="8"/>
                    <a:pt x="208" y="8"/>
                  </a:cubicBezTo>
                  <a:cubicBezTo>
                    <a:pt x="210" y="8"/>
                    <a:pt x="213" y="8"/>
                    <a:pt x="215" y="8"/>
                  </a:cubicBezTo>
                  <a:cubicBezTo>
                    <a:pt x="215" y="8"/>
                    <a:pt x="215" y="8"/>
                    <a:pt x="215" y="8"/>
                  </a:cubicBezTo>
                  <a:cubicBezTo>
                    <a:pt x="219" y="9"/>
                    <a:pt x="224" y="8"/>
                    <a:pt x="228" y="8"/>
                  </a:cubicBezTo>
                  <a:cubicBezTo>
                    <a:pt x="227" y="8"/>
                    <a:pt x="227" y="7"/>
                    <a:pt x="229" y="7"/>
                  </a:cubicBezTo>
                  <a:cubicBezTo>
                    <a:pt x="229" y="8"/>
                    <a:pt x="229" y="8"/>
                    <a:pt x="229" y="8"/>
                  </a:cubicBezTo>
                  <a:cubicBezTo>
                    <a:pt x="230" y="7"/>
                    <a:pt x="228" y="7"/>
                    <a:pt x="229" y="7"/>
                  </a:cubicBezTo>
                  <a:cubicBezTo>
                    <a:pt x="231" y="7"/>
                    <a:pt x="231" y="8"/>
                    <a:pt x="230" y="8"/>
                  </a:cubicBezTo>
                  <a:cubicBezTo>
                    <a:pt x="232" y="8"/>
                    <a:pt x="232" y="8"/>
                    <a:pt x="232" y="8"/>
                  </a:cubicBezTo>
                  <a:cubicBezTo>
                    <a:pt x="232" y="8"/>
                    <a:pt x="231" y="8"/>
                    <a:pt x="231" y="8"/>
                  </a:cubicBezTo>
                  <a:cubicBezTo>
                    <a:pt x="232" y="8"/>
                    <a:pt x="235" y="9"/>
                    <a:pt x="236" y="8"/>
                  </a:cubicBezTo>
                  <a:cubicBezTo>
                    <a:pt x="236" y="9"/>
                    <a:pt x="236" y="9"/>
                    <a:pt x="236" y="9"/>
                  </a:cubicBezTo>
                  <a:cubicBezTo>
                    <a:pt x="241" y="9"/>
                    <a:pt x="243" y="8"/>
                    <a:pt x="247" y="8"/>
                  </a:cubicBezTo>
                  <a:cubicBezTo>
                    <a:pt x="247" y="8"/>
                    <a:pt x="249" y="8"/>
                    <a:pt x="250" y="7"/>
                  </a:cubicBezTo>
                  <a:cubicBezTo>
                    <a:pt x="253" y="7"/>
                    <a:pt x="256" y="8"/>
                    <a:pt x="259" y="8"/>
                  </a:cubicBezTo>
                  <a:cubicBezTo>
                    <a:pt x="262" y="8"/>
                    <a:pt x="260" y="7"/>
                    <a:pt x="261" y="7"/>
                  </a:cubicBezTo>
                  <a:cubicBezTo>
                    <a:pt x="261" y="7"/>
                    <a:pt x="265" y="7"/>
                    <a:pt x="263" y="8"/>
                  </a:cubicBezTo>
                  <a:cubicBezTo>
                    <a:pt x="267" y="8"/>
                    <a:pt x="268" y="8"/>
                    <a:pt x="274" y="7"/>
                  </a:cubicBezTo>
                  <a:cubicBezTo>
                    <a:pt x="273" y="7"/>
                    <a:pt x="272" y="7"/>
                    <a:pt x="273" y="7"/>
                  </a:cubicBezTo>
                  <a:cubicBezTo>
                    <a:pt x="274" y="6"/>
                    <a:pt x="275" y="7"/>
                    <a:pt x="275" y="7"/>
                  </a:cubicBezTo>
                  <a:cubicBezTo>
                    <a:pt x="274" y="7"/>
                    <a:pt x="274" y="7"/>
                    <a:pt x="274" y="7"/>
                  </a:cubicBezTo>
                  <a:cubicBezTo>
                    <a:pt x="280" y="6"/>
                    <a:pt x="288" y="9"/>
                    <a:pt x="293" y="8"/>
                  </a:cubicBezTo>
                  <a:cubicBezTo>
                    <a:pt x="292" y="8"/>
                    <a:pt x="292" y="8"/>
                    <a:pt x="292" y="8"/>
                  </a:cubicBezTo>
                  <a:cubicBezTo>
                    <a:pt x="297" y="7"/>
                    <a:pt x="297" y="7"/>
                    <a:pt x="297" y="7"/>
                  </a:cubicBezTo>
                  <a:cubicBezTo>
                    <a:pt x="299" y="7"/>
                    <a:pt x="296" y="8"/>
                    <a:pt x="297" y="8"/>
                  </a:cubicBezTo>
                  <a:cubicBezTo>
                    <a:pt x="303" y="7"/>
                    <a:pt x="306" y="8"/>
                    <a:pt x="310" y="8"/>
                  </a:cubicBezTo>
                  <a:cubicBezTo>
                    <a:pt x="313" y="10"/>
                    <a:pt x="322" y="7"/>
                    <a:pt x="326" y="9"/>
                  </a:cubicBezTo>
                  <a:cubicBezTo>
                    <a:pt x="326" y="8"/>
                    <a:pt x="326" y="8"/>
                    <a:pt x="326" y="8"/>
                  </a:cubicBezTo>
                  <a:cubicBezTo>
                    <a:pt x="327" y="8"/>
                    <a:pt x="327" y="8"/>
                    <a:pt x="328" y="9"/>
                  </a:cubicBezTo>
                  <a:cubicBezTo>
                    <a:pt x="328" y="8"/>
                    <a:pt x="327" y="8"/>
                    <a:pt x="328" y="8"/>
                  </a:cubicBezTo>
                  <a:cubicBezTo>
                    <a:pt x="338" y="7"/>
                    <a:pt x="348" y="9"/>
                    <a:pt x="358" y="9"/>
                  </a:cubicBezTo>
                  <a:cubicBezTo>
                    <a:pt x="362" y="9"/>
                    <a:pt x="360" y="7"/>
                    <a:pt x="365" y="8"/>
                  </a:cubicBezTo>
                  <a:cubicBezTo>
                    <a:pt x="364" y="9"/>
                    <a:pt x="364" y="9"/>
                    <a:pt x="364" y="9"/>
                  </a:cubicBezTo>
                  <a:cubicBezTo>
                    <a:pt x="371" y="8"/>
                    <a:pt x="379" y="9"/>
                    <a:pt x="386" y="8"/>
                  </a:cubicBezTo>
                  <a:cubicBezTo>
                    <a:pt x="386" y="8"/>
                    <a:pt x="386" y="8"/>
                    <a:pt x="385" y="8"/>
                  </a:cubicBezTo>
                  <a:cubicBezTo>
                    <a:pt x="386" y="9"/>
                    <a:pt x="390" y="8"/>
                    <a:pt x="391" y="8"/>
                  </a:cubicBezTo>
                  <a:cubicBezTo>
                    <a:pt x="392" y="8"/>
                    <a:pt x="391" y="8"/>
                    <a:pt x="391" y="8"/>
                  </a:cubicBezTo>
                  <a:cubicBezTo>
                    <a:pt x="393" y="9"/>
                    <a:pt x="395" y="8"/>
                    <a:pt x="396" y="8"/>
                  </a:cubicBezTo>
                  <a:cubicBezTo>
                    <a:pt x="396" y="8"/>
                    <a:pt x="396" y="8"/>
                    <a:pt x="395" y="8"/>
                  </a:cubicBezTo>
                  <a:cubicBezTo>
                    <a:pt x="396" y="8"/>
                    <a:pt x="400" y="9"/>
                    <a:pt x="399" y="8"/>
                  </a:cubicBezTo>
                  <a:cubicBezTo>
                    <a:pt x="402" y="8"/>
                    <a:pt x="404" y="8"/>
                    <a:pt x="407" y="8"/>
                  </a:cubicBezTo>
                  <a:cubicBezTo>
                    <a:pt x="408" y="7"/>
                    <a:pt x="411" y="8"/>
                    <a:pt x="412" y="7"/>
                  </a:cubicBezTo>
                  <a:cubicBezTo>
                    <a:pt x="412" y="8"/>
                    <a:pt x="416" y="8"/>
                    <a:pt x="418" y="8"/>
                  </a:cubicBezTo>
                  <a:cubicBezTo>
                    <a:pt x="418" y="8"/>
                    <a:pt x="420" y="8"/>
                    <a:pt x="419" y="8"/>
                  </a:cubicBezTo>
                  <a:cubicBezTo>
                    <a:pt x="421" y="8"/>
                    <a:pt x="423" y="8"/>
                    <a:pt x="422" y="8"/>
                  </a:cubicBezTo>
                  <a:cubicBezTo>
                    <a:pt x="426" y="9"/>
                    <a:pt x="430" y="6"/>
                    <a:pt x="432" y="8"/>
                  </a:cubicBezTo>
                  <a:cubicBezTo>
                    <a:pt x="438" y="8"/>
                    <a:pt x="443" y="7"/>
                    <a:pt x="448" y="7"/>
                  </a:cubicBezTo>
                  <a:cubicBezTo>
                    <a:pt x="448" y="8"/>
                    <a:pt x="443" y="7"/>
                    <a:pt x="443" y="8"/>
                  </a:cubicBezTo>
                  <a:cubicBezTo>
                    <a:pt x="448" y="8"/>
                    <a:pt x="451" y="7"/>
                    <a:pt x="456" y="7"/>
                  </a:cubicBezTo>
                  <a:cubicBezTo>
                    <a:pt x="457" y="7"/>
                    <a:pt x="455" y="8"/>
                    <a:pt x="454" y="8"/>
                  </a:cubicBezTo>
                  <a:cubicBezTo>
                    <a:pt x="459" y="7"/>
                    <a:pt x="464" y="8"/>
                    <a:pt x="468" y="7"/>
                  </a:cubicBezTo>
                  <a:cubicBezTo>
                    <a:pt x="468" y="7"/>
                    <a:pt x="468" y="7"/>
                    <a:pt x="468" y="8"/>
                  </a:cubicBezTo>
                  <a:cubicBezTo>
                    <a:pt x="468" y="8"/>
                    <a:pt x="470" y="8"/>
                    <a:pt x="469" y="7"/>
                  </a:cubicBezTo>
                  <a:cubicBezTo>
                    <a:pt x="469" y="7"/>
                    <a:pt x="469" y="7"/>
                    <a:pt x="469" y="7"/>
                  </a:cubicBezTo>
                  <a:cubicBezTo>
                    <a:pt x="467" y="7"/>
                    <a:pt x="472" y="6"/>
                    <a:pt x="472" y="5"/>
                  </a:cubicBezTo>
                  <a:cubicBezTo>
                    <a:pt x="471" y="7"/>
                    <a:pt x="477" y="6"/>
                    <a:pt x="474" y="8"/>
                  </a:cubicBezTo>
                  <a:cubicBezTo>
                    <a:pt x="475" y="8"/>
                    <a:pt x="476" y="7"/>
                    <a:pt x="475" y="7"/>
                  </a:cubicBezTo>
                  <a:cubicBezTo>
                    <a:pt x="476" y="7"/>
                    <a:pt x="477" y="7"/>
                    <a:pt x="476" y="8"/>
                  </a:cubicBezTo>
                  <a:cubicBezTo>
                    <a:pt x="479" y="7"/>
                    <a:pt x="478" y="7"/>
                    <a:pt x="481" y="7"/>
                  </a:cubicBezTo>
                  <a:cubicBezTo>
                    <a:pt x="481" y="7"/>
                    <a:pt x="480" y="7"/>
                    <a:pt x="480" y="7"/>
                  </a:cubicBezTo>
                  <a:cubicBezTo>
                    <a:pt x="481" y="7"/>
                    <a:pt x="483" y="6"/>
                    <a:pt x="485" y="7"/>
                  </a:cubicBezTo>
                  <a:cubicBezTo>
                    <a:pt x="485" y="7"/>
                    <a:pt x="485" y="7"/>
                    <a:pt x="484" y="7"/>
                  </a:cubicBezTo>
                  <a:cubicBezTo>
                    <a:pt x="489" y="7"/>
                    <a:pt x="491" y="6"/>
                    <a:pt x="496" y="6"/>
                  </a:cubicBezTo>
                  <a:cubicBezTo>
                    <a:pt x="495" y="7"/>
                    <a:pt x="497" y="7"/>
                    <a:pt x="498" y="8"/>
                  </a:cubicBezTo>
                  <a:cubicBezTo>
                    <a:pt x="500" y="7"/>
                    <a:pt x="500" y="7"/>
                    <a:pt x="500" y="7"/>
                  </a:cubicBezTo>
                  <a:cubicBezTo>
                    <a:pt x="499" y="7"/>
                    <a:pt x="499" y="7"/>
                    <a:pt x="499" y="7"/>
                  </a:cubicBezTo>
                  <a:cubicBezTo>
                    <a:pt x="501" y="7"/>
                    <a:pt x="503" y="6"/>
                    <a:pt x="505" y="6"/>
                  </a:cubicBezTo>
                  <a:cubicBezTo>
                    <a:pt x="503" y="7"/>
                    <a:pt x="503" y="7"/>
                    <a:pt x="503" y="7"/>
                  </a:cubicBezTo>
                  <a:cubicBezTo>
                    <a:pt x="507" y="7"/>
                    <a:pt x="507" y="7"/>
                    <a:pt x="507" y="7"/>
                  </a:cubicBezTo>
                  <a:cubicBezTo>
                    <a:pt x="505" y="6"/>
                    <a:pt x="505" y="6"/>
                    <a:pt x="505" y="6"/>
                  </a:cubicBezTo>
                  <a:cubicBezTo>
                    <a:pt x="507" y="6"/>
                    <a:pt x="505" y="5"/>
                    <a:pt x="508" y="5"/>
                  </a:cubicBezTo>
                  <a:cubicBezTo>
                    <a:pt x="507" y="5"/>
                    <a:pt x="510" y="5"/>
                    <a:pt x="511" y="6"/>
                  </a:cubicBezTo>
                  <a:cubicBezTo>
                    <a:pt x="511" y="6"/>
                    <a:pt x="511" y="6"/>
                    <a:pt x="511" y="6"/>
                  </a:cubicBezTo>
                  <a:cubicBezTo>
                    <a:pt x="512" y="5"/>
                    <a:pt x="513" y="5"/>
                    <a:pt x="515" y="5"/>
                  </a:cubicBezTo>
                  <a:cubicBezTo>
                    <a:pt x="515" y="6"/>
                    <a:pt x="514" y="7"/>
                    <a:pt x="515" y="7"/>
                  </a:cubicBezTo>
                  <a:cubicBezTo>
                    <a:pt x="516" y="6"/>
                    <a:pt x="520" y="6"/>
                    <a:pt x="521" y="6"/>
                  </a:cubicBezTo>
                  <a:cubicBezTo>
                    <a:pt x="521" y="6"/>
                    <a:pt x="520" y="6"/>
                    <a:pt x="521" y="6"/>
                  </a:cubicBezTo>
                  <a:cubicBezTo>
                    <a:pt x="522" y="6"/>
                    <a:pt x="522" y="6"/>
                    <a:pt x="522" y="6"/>
                  </a:cubicBezTo>
                  <a:cubicBezTo>
                    <a:pt x="522" y="6"/>
                    <a:pt x="523" y="6"/>
                    <a:pt x="522" y="7"/>
                  </a:cubicBezTo>
                  <a:cubicBezTo>
                    <a:pt x="525" y="7"/>
                    <a:pt x="522" y="5"/>
                    <a:pt x="525" y="6"/>
                  </a:cubicBezTo>
                  <a:cubicBezTo>
                    <a:pt x="525" y="6"/>
                    <a:pt x="525" y="6"/>
                    <a:pt x="524" y="6"/>
                  </a:cubicBezTo>
                  <a:cubicBezTo>
                    <a:pt x="528" y="6"/>
                    <a:pt x="531" y="6"/>
                    <a:pt x="534" y="6"/>
                  </a:cubicBezTo>
                  <a:cubicBezTo>
                    <a:pt x="535" y="7"/>
                    <a:pt x="532" y="6"/>
                    <a:pt x="533" y="7"/>
                  </a:cubicBezTo>
                  <a:cubicBezTo>
                    <a:pt x="537" y="7"/>
                    <a:pt x="542" y="6"/>
                    <a:pt x="547" y="6"/>
                  </a:cubicBezTo>
                  <a:cubicBezTo>
                    <a:pt x="546" y="6"/>
                    <a:pt x="546" y="6"/>
                    <a:pt x="546" y="6"/>
                  </a:cubicBezTo>
                  <a:cubicBezTo>
                    <a:pt x="547" y="5"/>
                    <a:pt x="549" y="7"/>
                    <a:pt x="552" y="6"/>
                  </a:cubicBezTo>
                  <a:cubicBezTo>
                    <a:pt x="551" y="6"/>
                    <a:pt x="551" y="7"/>
                    <a:pt x="551" y="7"/>
                  </a:cubicBezTo>
                  <a:cubicBezTo>
                    <a:pt x="554" y="7"/>
                    <a:pt x="558" y="6"/>
                    <a:pt x="562" y="6"/>
                  </a:cubicBezTo>
                  <a:cubicBezTo>
                    <a:pt x="562" y="6"/>
                    <a:pt x="562" y="6"/>
                    <a:pt x="562" y="6"/>
                  </a:cubicBezTo>
                  <a:cubicBezTo>
                    <a:pt x="563" y="7"/>
                    <a:pt x="566" y="6"/>
                    <a:pt x="568" y="7"/>
                  </a:cubicBezTo>
                  <a:cubicBezTo>
                    <a:pt x="569" y="6"/>
                    <a:pt x="570" y="6"/>
                    <a:pt x="569" y="6"/>
                  </a:cubicBezTo>
                  <a:cubicBezTo>
                    <a:pt x="576" y="8"/>
                    <a:pt x="581" y="5"/>
                    <a:pt x="586" y="6"/>
                  </a:cubicBezTo>
                  <a:cubicBezTo>
                    <a:pt x="586" y="6"/>
                    <a:pt x="585" y="7"/>
                    <a:pt x="585" y="7"/>
                  </a:cubicBezTo>
                  <a:cubicBezTo>
                    <a:pt x="590" y="6"/>
                    <a:pt x="590" y="6"/>
                    <a:pt x="590" y="6"/>
                  </a:cubicBezTo>
                  <a:cubicBezTo>
                    <a:pt x="590" y="6"/>
                    <a:pt x="589" y="6"/>
                    <a:pt x="588" y="5"/>
                  </a:cubicBezTo>
                  <a:cubicBezTo>
                    <a:pt x="589" y="5"/>
                    <a:pt x="590" y="5"/>
                    <a:pt x="592" y="5"/>
                  </a:cubicBezTo>
                  <a:cubicBezTo>
                    <a:pt x="589" y="5"/>
                    <a:pt x="592" y="6"/>
                    <a:pt x="592" y="6"/>
                  </a:cubicBezTo>
                  <a:cubicBezTo>
                    <a:pt x="592" y="6"/>
                    <a:pt x="593" y="6"/>
                    <a:pt x="593" y="6"/>
                  </a:cubicBezTo>
                  <a:cubicBezTo>
                    <a:pt x="595" y="7"/>
                    <a:pt x="593" y="4"/>
                    <a:pt x="596" y="5"/>
                  </a:cubicBezTo>
                  <a:cubicBezTo>
                    <a:pt x="596" y="5"/>
                    <a:pt x="596" y="5"/>
                    <a:pt x="596" y="5"/>
                  </a:cubicBezTo>
                  <a:cubicBezTo>
                    <a:pt x="597" y="5"/>
                    <a:pt x="598" y="5"/>
                    <a:pt x="600" y="5"/>
                  </a:cubicBezTo>
                  <a:cubicBezTo>
                    <a:pt x="600" y="6"/>
                    <a:pt x="598" y="5"/>
                    <a:pt x="598" y="6"/>
                  </a:cubicBezTo>
                  <a:cubicBezTo>
                    <a:pt x="600" y="6"/>
                    <a:pt x="602" y="4"/>
                    <a:pt x="604" y="5"/>
                  </a:cubicBezTo>
                  <a:cubicBezTo>
                    <a:pt x="603" y="5"/>
                    <a:pt x="602" y="5"/>
                    <a:pt x="601" y="6"/>
                  </a:cubicBezTo>
                  <a:cubicBezTo>
                    <a:pt x="603" y="6"/>
                    <a:pt x="603" y="6"/>
                    <a:pt x="604" y="6"/>
                  </a:cubicBezTo>
                  <a:cubicBezTo>
                    <a:pt x="604" y="6"/>
                    <a:pt x="604" y="6"/>
                    <a:pt x="604" y="6"/>
                  </a:cubicBezTo>
                  <a:cubicBezTo>
                    <a:pt x="607" y="7"/>
                    <a:pt x="607" y="7"/>
                    <a:pt x="607" y="7"/>
                  </a:cubicBezTo>
                  <a:cubicBezTo>
                    <a:pt x="607" y="6"/>
                    <a:pt x="607" y="6"/>
                    <a:pt x="607" y="6"/>
                  </a:cubicBezTo>
                  <a:cubicBezTo>
                    <a:pt x="609" y="5"/>
                    <a:pt x="611" y="6"/>
                    <a:pt x="614" y="5"/>
                  </a:cubicBezTo>
                  <a:cubicBezTo>
                    <a:pt x="611" y="6"/>
                    <a:pt x="614" y="6"/>
                    <a:pt x="614" y="6"/>
                  </a:cubicBezTo>
                  <a:cubicBezTo>
                    <a:pt x="615" y="7"/>
                    <a:pt x="616" y="7"/>
                    <a:pt x="615" y="7"/>
                  </a:cubicBezTo>
                  <a:cubicBezTo>
                    <a:pt x="617" y="6"/>
                    <a:pt x="618" y="8"/>
                    <a:pt x="620" y="7"/>
                  </a:cubicBezTo>
                  <a:cubicBezTo>
                    <a:pt x="620" y="7"/>
                    <a:pt x="622" y="7"/>
                    <a:pt x="621" y="7"/>
                  </a:cubicBezTo>
                  <a:cubicBezTo>
                    <a:pt x="623" y="7"/>
                    <a:pt x="621" y="7"/>
                    <a:pt x="621" y="7"/>
                  </a:cubicBezTo>
                  <a:cubicBezTo>
                    <a:pt x="624" y="6"/>
                    <a:pt x="628" y="8"/>
                    <a:pt x="632" y="6"/>
                  </a:cubicBezTo>
                  <a:cubicBezTo>
                    <a:pt x="636" y="6"/>
                    <a:pt x="637" y="5"/>
                    <a:pt x="640" y="5"/>
                  </a:cubicBezTo>
                  <a:cubicBezTo>
                    <a:pt x="641" y="5"/>
                    <a:pt x="639" y="6"/>
                    <a:pt x="639" y="6"/>
                  </a:cubicBezTo>
                  <a:cubicBezTo>
                    <a:pt x="641" y="6"/>
                    <a:pt x="642" y="6"/>
                    <a:pt x="644" y="6"/>
                  </a:cubicBezTo>
                  <a:cubicBezTo>
                    <a:pt x="644" y="6"/>
                    <a:pt x="644" y="6"/>
                    <a:pt x="645" y="6"/>
                  </a:cubicBezTo>
                  <a:cubicBezTo>
                    <a:pt x="646" y="6"/>
                    <a:pt x="646" y="5"/>
                    <a:pt x="647" y="6"/>
                  </a:cubicBezTo>
                  <a:cubicBezTo>
                    <a:pt x="647" y="6"/>
                    <a:pt x="647" y="6"/>
                    <a:pt x="646" y="7"/>
                  </a:cubicBezTo>
                  <a:cubicBezTo>
                    <a:pt x="648" y="6"/>
                    <a:pt x="649" y="6"/>
                    <a:pt x="651" y="6"/>
                  </a:cubicBezTo>
                  <a:cubicBezTo>
                    <a:pt x="651" y="6"/>
                    <a:pt x="650" y="6"/>
                    <a:pt x="649" y="7"/>
                  </a:cubicBezTo>
                  <a:cubicBezTo>
                    <a:pt x="651" y="7"/>
                    <a:pt x="654" y="6"/>
                    <a:pt x="655" y="6"/>
                  </a:cubicBezTo>
                  <a:cubicBezTo>
                    <a:pt x="654" y="5"/>
                    <a:pt x="654" y="5"/>
                    <a:pt x="654" y="5"/>
                  </a:cubicBezTo>
                  <a:cubicBezTo>
                    <a:pt x="654" y="5"/>
                    <a:pt x="654" y="6"/>
                    <a:pt x="654" y="6"/>
                  </a:cubicBezTo>
                  <a:cubicBezTo>
                    <a:pt x="652" y="7"/>
                    <a:pt x="651" y="6"/>
                    <a:pt x="651" y="6"/>
                  </a:cubicBezTo>
                  <a:cubicBezTo>
                    <a:pt x="652" y="5"/>
                    <a:pt x="652" y="5"/>
                    <a:pt x="652" y="5"/>
                  </a:cubicBezTo>
                  <a:cubicBezTo>
                    <a:pt x="651" y="4"/>
                    <a:pt x="647" y="6"/>
                    <a:pt x="645" y="6"/>
                  </a:cubicBezTo>
                  <a:cubicBezTo>
                    <a:pt x="646" y="4"/>
                    <a:pt x="646" y="4"/>
                    <a:pt x="646" y="4"/>
                  </a:cubicBezTo>
                  <a:cubicBezTo>
                    <a:pt x="643" y="5"/>
                    <a:pt x="643" y="5"/>
                    <a:pt x="643" y="5"/>
                  </a:cubicBezTo>
                  <a:cubicBezTo>
                    <a:pt x="643" y="5"/>
                    <a:pt x="643" y="4"/>
                    <a:pt x="644" y="4"/>
                  </a:cubicBezTo>
                  <a:cubicBezTo>
                    <a:pt x="642" y="4"/>
                    <a:pt x="642" y="5"/>
                    <a:pt x="641" y="4"/>
                  </a:cubicBezTo>
                  <a:cubicBezTo>
                    <a:pt x="641" y="4"/>
                    <a:pt x="641" y="4"/>
                    <a:pt x="641" y="4"/>
                  </a:cubicBezTo>
                  <a:cubicBezTo>
                    <a:pt x="639" y="4"/>
                    <a:pt x="639" y="4"/>
                    <a:pt x="639" y="4"/>
                  </a:cubicBezTo>
                  <a:cubicBezTo>
                    <a:pt x="639" y="4"/>
                    <a:pt x="639" y="3"/>
                    <a:pt x="640" y="4"/>
                  </a:cubicBezTo>
                  <a:cubicBezTo>
                    <a:pt x="637" y="3"/>
                    <a:pt x="635" y="4"/>
                    <a:pt x="634" y="4"/>
                  </a:cubicBezTo>
                  <a:cubicBezTo>
                    <a:pt x="634" y="4"/>
                    <a:pt x="634" y="4"/>
                    <a:pt x="634" y="4"/>
                  </a:cubicBezTo>
                  <a:cubicBezTo>
                    <a:pt x="630" y="4"/>
                    <a:pt x="633" y="4"/>
                    <a:pt x="630" y="5"/>
                  </a:cubicBezTo>
                  <a:cubicBezTo>
                    <a:pt x="628" y="3"/>
                    <a:pt x="628" y="3"/>
                    <a:pt x="628" y="3"/>
                  </a:cubicBezTo>
                  <a:cubicBezTo>
                    <a:pt x="628" y="4"/>
                    <a:pt x="628" y="4"/>
                    <a:pt x="628" y="4"/>
                  </a:cubicBezTo>
                  <a:cubicBezTo>
                    <a:pt x="627" y="4"/>
                    <a:pt x="626" y="4"/>
                    <a:pt x="627" y="4"/>
                  </a:cubicBezTo>
                  <a:cubicBezTo>
                    <a:pt x="625" y="4"/>
                    <a:pt x="627" y="4"/>
                    <a:pt x="626" y="5"/>
                  </a:cubicBezTo>
                  <a:cubicBezTo>
                    <a:pt x="624" y="4"/>
                    <a:pt x="620" y="5"/>
                    <a:pt x="619" y="4"/>
                  </a:cubicBezTo>
                  <a:cubicBezTo>
                    <a:pt x="619" y="4"/>
                    <a:pt x="622" y="4"/>
                    <a:pt x="619" y="5"/>
                  </a:cubicBezTo>
                  <a:cubicBezTo>
                    <a:pt x="619" y="3"/>
                    <a:pt x="617" y="5"/>
                    <a:pt x="615" y="4"/>
                  </a:cubicBezTo>
                  <a:cubicBezTo>
                    <a:pt x="615" y="3"/>
                    <a:pt x="617" y="4"/>
                    <a:pt x="615" y="3"/>
                  </a:cubicBezTo>
                  <a:cubicBezTo>
                    <a:pt x="614" y="4"/>
                    <a:pt x="611" y="3"/>
                    <a:pt x="610" y="3"/>
                  </a:cubicBezTo>
                  <a:cubicBezTo>
                    <a:pt x="610" y="4"/>
                    <a:pt x="606" y="4"/>
                    <a:pt x="603" y="4"/>
                  </a:cubicBezTo>
                  <a:cubicBezTo>
                    <a:pt x="604" y="4"/>
                    <a:pt x="598" y="3"/>
                    <a:pt x="596" y="3"/>
                  </a:cubicBezTo>
                  <a:cubicBezTo>
                    <a:pt x="596" y="3"/>
                    <a:pt x="596" y="3"/>
                    <a:pt x="596" y="3"/>
                  </a:cubicBezTo>
                  <a:cubicBezTo>
                    <a:pt x="595" y="4"/>
                    <a:pt x="593" y="4"/>
                    <a:pt x="591" y="4"/>
                  </a:cubicBezTo>
                  <a:cubicBezTo>
                    <a:pt x="591" y="3"/>
                    <a:pt x="591" y="3"/>
                    <a:pt x="592" y="3"/>
                  </a:cubicBezTo>
                  <a:cubicBezTo>
                    <a:pt x="590" y="3"/>
                    <a:pt x="590" y="3"/>
                    <a:pt x="590" y="3"/>
                  </a:cubicBezTo>
                  <a:cubicBezTo>
                    <a:pt x="590" y="3"/>
                    <a:pt x="589" y="3"/>
                    <a:pt x="588" y="3"/>
                  </a:cubicBezTo>
                  <a:cubicBezTo>
                    <a:pt x="589" y="3"/>
                    <a:pt x="589" y="3"/>
                    <a:pt x="589" y="3"/>
                  </a:cubicBezTo>
                  <a:cubicBezTo>
                    <a:pt x="586" y="3"/>
                    <a:pt x="584" y="3"/>
                    <a:pt x="581" y="3"/>
                  </a:cubicBezTo>
                  <a:cubicBezTo>
                    <a:pt x="580" y="4"/>
                    <a:pt x="583" y="5"/>
                    <a:pt x="580" y="5"/>
                  </a:cubicBezTo>
                  <a:cubicBezTo>
                    <a:pt x="580" y="5"/>
                    <a:pt x="580" y="4"/>
                    <a:pt x="580" y="4"/>
                  </a:cubicBezTo>
                  <a:cubicBezTo>
                    <a:pt x="580" y="4"/>
                    <a:pt x="579" y="4"/>
                    <a:pt x="579" y="4"/>
                  </a:cubicBezTo>
                  <a:cubicBezTo>
                    <a:pt x="580" y="4"/>
                    <a:pt x="580" y="4"/>
                    <a:pt x="580" y="4"/>
                  </a:cubicBezTo>
                  <a:cubicBezTo>
                    <a:pt x="579" y="3"/>
                    <a:pt x="579" y="4"/>
                    <a:pt x="578" y="4"/>
                  </a:cubicBezTo>
                  <a:cubicBezTo>
                    <a:pt x="578" y="4"/>
                    <a:pt x="577" y="4"/>
                    <a:pt x="578" y="3"/>
                  </a:cubicBezTo>
                  <a:cubicBezTo>
                    <a:pt x="578" y="3"/>
                    <a:pt x="579" y="4"/>
                    <a:pt x="579" y="3"/>
                  </a:cubicBezTo>
                  <a:cubicBezTo>
                    <a:pt x="578" y="3"/>
                    <a:pt x="576" y="3"/>
                    <a:pt x="576" y="3"/>
                  </a:cubicBezTo>
                  <a:cubicBezTo>
                    <a:pt x="576" y="3"/>
                    <a:pt x="576" y="3"/>
                    <a:pt x="575" y="3"/>
                  </a:cubicBezTo>
                  <a:cubicBezTo>
                    <a:pt x="572" y="3"/>
                    <a:pt x="574" y="3"/>
                    <a:pt x="572" y="2"/>
                  </a:cubicBezTo>
                  <a:cubicBezTo>
                    <a:pt x="572" y="3"/>
                    <a:pt x="570" y="2"/>
                    <a:pt x="570" y="3"/>
                  </a:cubicBezTo>
                  <a:cubicBezTo>
                    <a:pt x="570" y="3"/>
                    <a:pt x="569" y="3"/>
                    <a:pt x="569" y="3"/>
                  </a:cubicBezTo>
                  <a:cubicBezTo>
                    <a:pt x="568" y="3"/>
                    <a:pt x="563" y="3"/>
                    <a:pt x="565" y="4"/>
                  </a:cubicBezTo>
                  <a:cubicBezTo>
                    <a:pt x="565" y="4"/>
                    <a:pt x="565" y="4"/>
                    <a:pt x="565" y="4"/>
                  </a:cubicBezTo>
                  <a:cubicBezTo>
                    <a:pt x="565" y="4"/>
                    <a:pt x="565" y="4"/>
                    <a:pt x="565" y="4"/>
                  </a:cubicBezTo>
                  <a:cubicBezTo>
                    <a:pt x="565" y="4"/>
                    <a:pt x="565" y="4"/>
                    <a:pt x="565" y="4"/>
                  </a:cubicBezTo>
                  <a:cubicBezTo>
                    <a:pt x="565" y="4"/>
                    <a:pt x="565" y="4"/>
                    <a:pt x="565" y="4"/>
                  </a:cubicBezTo>
                  <a:cubicBezTo>
                    <a:pt x="561" y="4"/>
                    <a:pt x="556" y="3"/>
                    <a:pt x="552" y="4"/>
                  </a:cubicBezTo>
                  <a:cubicBezTo>
                    <a:pt x="552" y="3"/>
                    <a:pt x="552" y="3"/>
                    <a:pt x="552" y="3"/>
                  </a:cubicBezTo>
                  <a:cubicBezTo>
                    <a:pt x="550" y="4"/>
                    <a:pt x="547" y="3"/>
                    <a:pt x="545" y="4"/>
                  </a:cubicBezTo>
                  <a:cubicBezTo>
                    <a:pt x="544" y="4"/>
                    <a:pt x="544" y="4"/>
                    <a:pt x="544" y="3"/>
                  </a:cubicBezTo>
                  <a:cubicBezTo>
                    <a:pt x="542" y="3"/>
                    <a:pt x="542" y="4"/>
                    <a:pt x="539" y="3"/>
                  </a:cubicBezTo>
                  <a:cubicBezTo>
                    <a:pt x="541" y="3"/>
                    <a:pt x="538" y="3"/>
                    <a:pt x="541" y="3"/>
                  </a:cubicBezTo>
                  <a:cubicBezTo>
                    <a:pt x="539" y="3"/>
                    <a:pt x="538" y="2"/>
                    <a:pt x="535" y="3"/>
                  </a:cubicBezTo>
                  <a:cubicBezTo>
                    <a:pt x="536" y="2"/>
                    <a:pt x="534" y="2"/>
                    <a:pt x="532" y="2"/>
                  </a:cubicBezTo>
                  <a:cubicBezTo>
                    <a:pt x="534" y="3"/>
                    <a:pt x="534" y="3"/>
                    <a:pt x="534" y="3"/>
                  </a:cubicBezTo>
                  <a:cubicBezTo>
                    <a:pt x="533" y="3"/>
                    <a:pt x="532" y="3"/>
                    <a:pt x="531" y="3"/>
                  </a:cubicBezTo>
                  <a:cubicBezTo>
                    <a:pt x="531" y="2"/>
                    <a:pt x="531" y="2"/>
                    <a:pt x="531" y="2"/>
                  </a:cubicBezTo>
                  <a:cubicBezTo>
                    <a:pt x="526" y="1"/>
                    <a:pt x="522" y="4"/>
                    <a:pt x="519" y="2"/>
                  </a:cubicBezTo>
                  <a:cubicBezTo>
                    <a:pt x="517" y="3"/>
                    <a:pt x="521" y="2"/>
                    <a:pt x="520" y="3"/>
                  </a:cubicBezTo>
                  <a:cubicBezTo>
                    <a:pt x="518" y="3"/>
                    <a:pt x="515" y="2"/>
                    <a:pt x="515" y="2"/>
                  </a:cubicBezTo>
                  <a:cubicBezTo>
                    <a:pt x="512" y="1"/>
                    <a:pt x="512" y="3"/>
                    <a:pt x="509" y="3"/>
                  </a:cubicBezTo>
                  <a:cubicBezTo>
                    <a:pt x="509" y="3"/>
                    <a:pt x="509" y="4"/>
                    <a:pt x="507" y="4"/>
                  </a:cubicBezTo>
                  <a:cubicBezTo>
                    <a:pt x="505" y="4"/>
                    <a:pt x="504" y="3"/>
                    <a:pt x="506" y="3"/>
                  </a:cubicBezTo>
                  <a:cubicBezTo>
                    <a:pt x="506" y="3"/>
                    <a:pt x="506" y="3"/>
                    <a:pt x="506" y="3"/>
                  </a:cubicBezTo>
                  <a:cubicBezTo>
                    <a:pt x="507" y="3"/>
                    <a:pt x="508" y="3"/>
                    <a:pt x="507" y="2"/>
                  </a:cubicBezTo>
                  <a:cubicBezTo>
                    <a:pt x="507" y="3"/>
                    <a:pt x="507" y="3"/>
                    <a:pt x="507" y="3"/>
                  </a:cubicBezTo>
                  <a:cubicBezTo>
                    <a:pt x="506" y="2"/>
                    <a:pt x="503" y="2"/>
                    <a:pt x="503" y="2"/>
                  </a:cubicBezTo>
                  <a:cubicBezTo>
                    <a:pt x="502" y="2"/>
                    <a:pt x="503" y="2"/>
                    <a:pt x="504" y="2"/>
                  </a:cubicBezTo>
                  <a:cubicBezTo>
                    <a:pt x="501" y="2"/>
                    <a:pt x="499" y="2"/>
                    <a:pt x="496" y="2"/>
                  </a:cubicBezTo>
                  <a:cubicBezTo>
                    <a:pt x="497" y="2"/>
                    <a:pt x="497" y="3"/>
                    <a:pt x="497" y="3"/>
                  </a:cubicBezTo>
                  <a:cubicBezTo>
                    <a:pt x="492" y="2"/>
                    <a:pt x="495" y="3"/>
                    <a:pt x="492" y="3"/>
                  </a:cubicBezTo>
                  <a:cubicBezTo>
                    <a:pt x="490" y="3"/>
                    <a:pt x="493" y="2"/>
                    <a:pt x="490" y="3"/>
                  </a:cubicBezTo>
                  <a:cubicBezTo>
                    <a:pt x="488" y="2"/>
                    <a:pt x="489" y="2"/>
                    <a:pt x="490" y="1"/>
                  </a:cubicBezTo>
                  <a:cubicBezTo>
                    <a:pt x="487" y="2"/>
                    <a:pt x="485" y="1"/>
                    <a:pt x="483" y="1"/>
                  </a:cubicBezTo>
                  <a:cubicBezTo>
                    <a:pt x="485" y="1"/>
                    <a:pt x="485" y="1"/>
                    <a:pt x="485" y="1"/>
                  </a:cubicBezTo>
                  <a:cubicBezTo>
                    <a:pt x="484" y="1"/>
                    <a:pt x="483" y="1"/>
                    <a:pt x="482" y="1"/>
                  </a:cubicBezTo>
                  <a:cubicBezTo>
                    <a:pt x="483" y="2"/>
                    <a:pt x="483" y="2"/>
                    <a:pt x="483" y="2"/>
                  </a:cubicBezTo>
                  <a:cubicBezTo>
                    <a:pt x="482" y="1"/>
                    <a:pt x="482" y="1"/>
                    <a:pt x="482" y="1"/>
                  </a:cubicBezTo>
                  <a:cubicBezTo>
                    <a:pt x="481" y="2"/>
                    <a:pt x="482" y="2"/>
                    <a:pt x="481" y="3"/>
                  </a:cubicBezTo>
                  <a:cubicBezTo>
                    <a:pt x="479" y="2"/>
                    <a:pt x="477" y="3"/>
                    <a:pt x="477" y="2"/>
                  </a:cubicBezTo>
                  <a:cubicBezTo>
                    <a:pt x="480" y="3"/>
                    <a:pt x="476" y="1"/>
                    <a:pt x="479" y="1"/>
                  </a:cubicBezTo>
                  <a:cubicBezTo>
                    <a:pt x="479" y="1"/>
                    <a:pt x="478" y="1"/>
                    <a:pt x="477" y="1"/>
                  </a:cubicBezTo>
                  <a:cubicBezTo>
                    <a:pt x="477" y="1"/>
                    <a:pt x="477" y="1"/>
                    <a:pt x="478" y="1"/>
                  </a:cubicBezTo>
                  <a:cubicBezTo>
                    <a:pt x="474" y="0"/>
                    <a:pt x="476" y="2"/>
                    <a:pt x="473" y="2"/>
                  </a:cubicBezTo>
                  <a:cubicBezTo>
                    <a:pt x="473" y="1"/>
                    <a:pt x="472" y="1"/>
                    <a:pt x="471" y="1"/>
                  </a:cubicBezTo>
                  <a:cubicBezTo>
                    <a:pt x="473" y="1"/>
                    <a:pt x="472" y="2"/>
                    <a:pt x="471" y="2"/>
                  </a:cubicBezTo>
                  <a:cubicBezTo>
                    <a:pt x="468" y="2"/>
                    <a:pt x="468" y="3"/>
                    <a:pt x="467" y="3"/>
                  </a:cubicBezTo>
                  <a:cubicBezTo>
                    <a:pt x="468" y="3"/>
                    <a:pt x="468" y="3"/>
                    <a:pt x="468" y="3"/>
                  </a:cubicBezTo>
                  <a:cubicBezTo>
                    <a:pt x="468" y="3"/>
                    <a:pt x="467" y="3"/>
                    <a:pt x="465" y="3"/>
                  </a:cubicBezTo>
                  <a:cubicBezTo>
                    <a:pt x="465" y="3"/>
                    <a:pt x="467" y="3"/>
                    <a:pt x="466" y="3"/>
                  </a:cubicBezTo>
                  <a:cubicBezTo>
                    <a:pt x="464" y="4"/>
                    <a:pt x="462" y="2"/>
                    <a:pt x="460" y="3"/>
                  </a:cubicBezTo>
                  <a:cubicBezTo>
                    <a:pt x="458" y="2"/>
                    <a:pt x="460" y="2"/>
                    <a:pt x="459" y="1"/>
                  </a:cubicBezTo>
                  <a:cubicBezTo>
                    <a:pt x="456" y="2"/>
                    <a:pt x="456" y="1"/>
                    <a:pt x="453" y="1"/>
                  </a:cubicBezTo>
                  <a:cubicBezTo>
                    <a:pt x="454" y="2"/>
                    <a:pt x="454" y="2"/>
                    <a:pt x="452" y="2"/>
                  </a:cubicBezTo>
                  <a:cubicBezTo>
                    <a:pt x="456" y="2"/>
                    <a:pt x="456" y="2"/>
                    <a:pt x="456" y="2"/>
                  </a:cubicBezTo>
                  <a:cubicBezTo>
                    <a:pt x="453" y="3"/>
                    <a:pt x="453" y="3"/>
                    <a:pt x="453" y="3"/>
                  </a:cubicBezTo>
                  <a:cubicBezTo>
                    <a:pt x="455" y="3"/>
                    <a:pt x="456" y="2"/>
                    <a:pt x="457" y="3"/>
                  </a:cubicBezTo>
                  <a:cubicBezTo>
                    <a:pt x="456" y="3"/>
                    <a:pt x="456" y="3"/>
                    <a:pt x="457" y="3"/>
                  </a:cubicBezTo>
                  <a:cubicBezTo>
                    <a:pt x="455" y="3"/>
                    <a:pt x="453" y="4"/>
                    <a:pt x="450" y="3"/>
                  </a:cubicBezTo>
                  <a:cubicBezTo>
                    <a:pt x="451" y="2"/>
                    <a:pt x="451" y="2"/>
                    <a:pt x="451" y="2"/>
                  </a:cubicBezTo>
                  <a:cubicBezTo>
                    <a:pt x="447" y="1"/>
                    <a:pt x="445" y="3"/>
                    <a:pt x="440" y="2"/>
                  </a:cubicBezTo>
                  <a:cubicBezTo>
                    <a:pt x="442" y="3"/>
                    <a:pt x="442" y="3"/>
                    <a:pt x="442" y="3"/>
                  </a:cubicBezTo>
                  <a:cubicBezTo>
                    <a:pt x="441" y="3"/>
                    <a:pt x="439" y="3"/>
                    <a:pt x="437" y="3"/>
                  </a:cubicBezTo>
                  <a:cubicBezTo>
                    <a:pt x="438" y="2"/>
                    <a:pt x="437" y="2"/>
                    <a:pt x="436" y="2"/>
                  </a:cubicBezTo>
                  <a:cubicBezTo>
                    <a:pt x="436" y="2"/>
                    <a:pt x="433" y="2"/>
                    <a:pt x="432" y="3"/>
                  </a:cubicBezTo>
                  <a:cubicBezTo>
                    <a:pt x="431" y="2"/>
                    <a:pt x="431" y="2"/>
                    <a:pt x="431" y="2"/>
                  </a:cubicBezTo>
                  <a:cubicBezTo>
                    <a:pt x="427" y="2"/>
                    <a:pt x="426" y="4"/>
                    <a:pt x="423" y="3"/>
                  </a:cubicBezTo>
                  <a:cubicBezTo>
                    <a:pt x="424" y="3"/>
                    <a:pt x="423" y="3"/>
                    <a:pt x="425" y="2"/>
                  </a:cubicBezTo>
                  <a:cubicBezTo>
                    <a:pt x="424" y="2"/>
                    <a:pt x="423" y="2"/>
                    <a:pt x="423" y="2"/>
                  </a:cubicBezTo>
                  <a:cubicBezTo>
                    <a:pt x="422" y="2"/>
                    <a:pt x="420" y="3"/>
                    <a:pt x="418" y="3"/>
                  </a:cubicBezTo>
                  <a:cubicBezTo>
                    <a:pt x="418" y="3"/>
                    <a:pt x="418" y="3"/>
                    <a:pt x="417" y="3"/>
                  </a:cubicBezTo>
                  <a:cubicBezTo>
                    <a:pt x="416" y="3"/>
                    <a:pt x="417" y="3"/>
                    <a:pt x="417" y="3"/>
                  </a:cubicBezTo>
                  <a:cubicBezTo>
                    <a:pt x="417" y="3"/>
                    <a:pt x="415" y="3"/>
                    <a:pt x="416" y="4"/>
                  </a:cubicBezTo>
                  <a:cubicBezTo>
                    <a:pt x="412" y="2"/>
                    <a:pt x="406" y="4"/>
                    <a:pt x="403" y="3"/>
                  </a:cubicBezTo>
                  <a:cubicBezTo>
                    <a:pt x="400" y="3"/>
                    <a:pt x="397" y="3"/>
                    <a:pt x="395" y="3"/>
                  </a:cubicBezTo>
                  <a:cubicBezTo>
                    <a:pt x="395" y="3"/>
                    <a:pt x="395" y="3"/>
                    <a:pt x="396" y="3"/>
                  </a:cubicBezTo>
                  <a:cubicBezTo>
                    <a:pt x="392" y="2"/>
                    <a:pt x="394" y="4"/>
                    <a:pt x="390" y="4"/>
                  </a:cubicBezTo>
                  <a:cubicBezTo>
                    <a:pt x="388" y="3"/>
                    <a:pt x="392" y="3"/>
                    <a:pt x="391" y="3"/>
                  </a:cubicBezTo>
                  <a:cubicBezTo>
                    <a:pt x="390" y="1"/>
                    <a:pt x="387" y="3"/>
                    <a:pt x="384" y="2"/>
                  </a:cubicBezTo>
                  <a:cubicBezTo>
                    <a:pt x="385" y="2"/>
                    <a:pt x="385" y="2"/>
                    <a:pt x="385" y="2"/>
                  </a:cubicBezTo>
                  <a:cubicBezTo>
                    <a:pt x="383" y="2"/>
                    <a:pt x="380" y="3"/>
                    <a:pt x="377" y="3"/>
                  </a:cubicBezTo>
                  <a:cubicBezTo>
                    <a:pt x="377" y="3"/>
                    <a:pt x="378" y="3"/>
                    <a:pt x="377" y="2"/>
                  </a:cubicBezTo>
                  <a:cubicBezTo>
                    <a:pt x="375" y="3"/>
                    <a:pt x="372" y="4"/>
                    <a:pt x="369" y="4"/>
                  </a:cubicBezTo>
                  <a:cubicBezTo>
                    <a:pt x="370" y="3"/>
                    <a:pt x="370" y="4"/>
                    <a:pt x="369" y="3"/>
                  </a:cubicBezTo>
                  <a:cubicBezTo>
                    <a:pt x="368" y="3"/>
                    <a:pt x="370" y="4"/>
                    <a:pt x="367" y="4"/>
                  </a:cubicBezTo>
                  <a:cubicBezTo>
                    <a:pt x="366" y="4"/>
                    <a:pt x="365" y="3"/>
                    <a:pt x="364" y="3"/>
                  </a:cubicBezTo>
                  <a:cubicBezTo>
                    <a:pt x="367" y="3"/>
                    <a:pt x="367" y="3"/>
                    <a:pt x="367" y="3"/>
                  </a:cubicBezTo>
                  <a:cubicBezTo>
                    <a:pt x="366" y="2"/>
                    <a:pt x="364" y="3"/>
                    <a:pt x="362" y="3"/>
                  </a:cubicBezTo>
                  <a:cubicBezTo>
                    <a:pt x="363" y="2"/>
                    <a:pt x="363" y="2"/>
                    <a:pt x="363" y="2"/>
                  </a:cubicBezTo>
                  <a:cubicBezTo>
                    <a:pt x="359" y="2"/>
                    <a:pt x="359" y="3"/>
                    <a:pt x="355" y="3"/>
                  </a:cubicBezTo>
                  <a:cubicBezTo>
                    <a:pt x="355" y="4"/>
                    <a:pt x="355" y="4"/>
                    <a:pt x="355" y="4"/>
                  </a:cubicBezTo>
                  <a:cubicBezTo>
                    <a:pt x="353" y="5"/>
                    <a:pt x="353" y="3"/>
                    <a:pt x="351" y="4"/>
                  </a:cubicBezTo>
                  <a:cubicBezTo>
                    <a:pt x="351" y="3"/>
                    <a:pt x="351" y="3"/>
                    <a:pt x="351" y="3"/>
                  </a:cubicBezTo>
                  <a:cubicBezTo>
                    <a:pt x="349" y="3"/>
                    <a:pt x="346" y="4"/>
                    <a:pt x="343" y="4"/>
                  </a:cubicBezTo>
                  <a:cubicBezTo>
                    <a:pt x="344" y="3"/>
                    <a:pt x="347" y="3"/>
                    <a:pt x="349" y="2"/>
                  </a:cubicBezTo>
                  <a:cubicBezTo>
                    <a:pt x="348" y="2"/>
                    <a:pt x="344" y="2"/>
                    <a:pt x="344" y="3"/>
                  </a:cubicBezTo>
                  <a:cubicBezTo>
                    <a:pt x="344" y="3"/>
                    <a:pt x="345" y="2"/>
                    <a:pt x="346" y="3"/>
                  </a:cubicBezTo>
                  <a:cubicBezTo>
                    <a:pt x="344" y="3"/>
                    <a:pt x="342" y="4"/>
                    <a:pt x="339" y="4"/>
                  </a:cubicBezTo>
                  <a:cubicBezTo>
                    <a:pt x="339" y="2"/>
                    <a:pt x="331" y="3"/>
                    <a:pt x="329" y="2"/>
                  </a:cubicBezTo>
                  <a:cubicBezTo>
                    <a:pt x="324" y="3"/>
                    <a:pt x="319" y="1"/>
                    <a:pt x="314" y="2"/>
                  </a:cubicBezTo>
                  <a:cubicBezTo>
                    <a:pt x="316" y="3"/>
                    <a:pt x="312" y="2"/>
                    <a:pt x="312" y="3"/>
                  </a:cubicBezTo>
                  <a:cubicBezTo>
                    <a:pt x="311" y="3"/>
                    <a:pt x="310" y="3"/>
                    <a:pt x="310" y="3"/>
                  </a:cubicBezTo>
                  <a:cubicBezTo>
                    <a:pt x="306" y="2"/>
                    <a:pt x="306" y="2"/>
                    <a:pt x="306" y="2"/>
                  </a:cubicBezTo>
                  <a:cubicBezTo>
                    <a:pt x="305" y="2"/>
                    <a:pt x="307" y="2"/>
                    <a:pt x="307" y="1"/>
                  </a:cubicBezTo>
                  <a:cubicBezTo>
                    <a:pt x="304" y="1"/>
                    <a:pt x="306" y="1"/>
                    <a:pt x="304" y="0"/>
                  </a:cubicBezTo>
                  <a:cubicBezTo>
                    <a:pt x="304" y="1"/>
                    <a:pt x="303" y="1"/>
                    <a:pt x="301" y="1"/>
                  </a:cubicBezTo>
                  <a:cubicBezTo>
                    <a:pt x="304" y="2"/>
                    <a:pt x="304" y="2"/>
                    <a:pt x="304" y="2"/>
                  </a:cubicBezTo>
                  <a:cubicBezTo>
                    <a:pt x="300" y="3"/>
                    <a:pt x="300" y="0"/>
                    <a:pt x="296" y="1"/>
                  </a:cubicBezTo>
                  <a:cubicBezTo>
                    <a:pt x="297" y="1"/>
                    <a:pt x="297" y="1"/>
                    <a:pt x="297" y="1"/>
                  </a:cubicBezTo>
                  <a:cubicBezTo>
                    <a:pt x="295" y="1"/>
                    <a:pt x="289" y="1"/>
                    <a:pt x="287" y="2"/>
                  </a:cubicBezTo>
                  <a:cubicBezTo>
                    <a:pt x="287" y="2"/>
                    <a:pt x="286" y="1"/>
                    <a:pt x="287" y="1"/>
                  </a:cubicBezTo>
                  <a:cubicBezTo>
                    <a:pt x="282" y="1"/>
                    <a:pt x="276" y="3"/>
                    <a:pt x="272" y="2"/>
                  </a:cubicBezTo>
                  <a:cubicBezTo>
                    <a:pt x="272" y="1"/>
                    <a:pt x="272" y="1"/>
                    <a:pt x="272" y="1"/>
                  </a:cubicBezTo>
                  <a:cubicBezTo>
                    <a:pt x="271" y="2"/>
                    <a:pt x="271" y="2"/>
                    <a:pt x="269" y="2"/>
                  </a:cubicBezTo>
                  <a:cubicBezTo>
                    <a:pt x="269" y="2"/>
                    <a:pt x="270" y="1"/>
                    <a:pt x="269" y="1"/>
                  </a:cubicBezTo>
                  <a:cubicBezTo>
                    <a:pt x="269" y="2"/>
                    <a:pt x="267" y="2"/>
                    <a:pt x="265" y="2"/>
                  </a:cubicBezTo>
                  <a:cubicBezTo>
                    <a:pt x="267" y="1"/>
                    <a:pt x="267" y="1"/>
                    <a:pt x="267" y="1"/>
                  </a:cubicBezTo>
                  <a:cubicBezTo>
                    <a:pt x="262" y="1"/>
                    <a:pt x="259" y="2"/>
                    <a:pt x="255" y="3"/>
                  </a:cubicBezTo>
                  <a:cubicBezTo>
                    <a:pt x="255" y="2"/>
                    <a:pt x="251" y="1"/>
                    <a:pt x="249" y="1"/>
                  </a:cubicBezTo>
                  <a:cubicBezTo>
                    <a:pt x="249" y="1"/>
                    <a:pt x="249" y="1"/>
                    <a:pt x="249" y="1"/>
                  </a:cubicBezTo>
                  <a:cubicBezTo>
                    <a:pt x="243" y="1"/>
                    <a:pt x="239" y="2"/>
                    <a:pt x="234" y="2"/>
                  </a:cubicBezTo>
                  <a:cubicBezTo>
                    <a:pt x="230" y="1"/>
                    <a:pt x="222" y="2"/>
                    <a:pt x="217" y="1"/>
                  </a:cubicBezTo>
                  <a:cubicBezTo>
                    <a:pt x="218" y="1"/>
                    <a:pt x="217" y="2"/>
                    <a:pt x="216" y="2"/>
                  </a:cubicBezTo>
                  <a:cubicBezTo>
                    <a:pt x="214" y="2"/>
                    <a:pt x="212" y="3"/>
                    <a:pt x="212" y="2"/>
                  </a:cubicBezTo>
                  <a:cubicBezTo>
                    <a:pt x="213" y="2"/>
                    <a:pt x="213" y="2"/>
                    <a:pt x="213" y="2"/>
                  </a:cubicBezTo>
                  <a:cubicBezTo>
                    <a:pt x="212" y="1"/>
                    <a:pt x="209" y="1"/>
                    <a:pt x="207" y="1"/>
                  </a:cubicBezTo>
                  <a:cubicBezTo>
                    <a:pt x="207" y="2"/>
                    <a:pt x="207" y="2"/>
                    <a:pt x="207" y="2"/>
                  </a:cubicBezTo>
                  <a:cubicBezTo>
                    <a:pt x="202" y="0"/>
                    <a:pt x="193" y="3"/>
                    <a:pt x="190" y="1"/>
                  </a:cubicBezTo>
                  <a:cubicBezTo>
                    <a:pt x="189" y="2"/>
                    <a:pt x="187" y="2"/>
                    <a:pt x="186" y="2"/>
                  </a:cubicBezTo>
                  <a:cubicBezTo>
                    <a:pt x="186" y="1"/>
                    <a:pt x="186" y="1"/>
                    <a:pt x="186" y="1"/>
                  </a:cubicBezTo>
                  <a:cubicBezTo>
                    <a:pt x="183" y="1"/>
                    <a:pt x="181" y="1"/>
                    <a:pt x="176" y="1"/>
                  </a:cubicBezTo>
                  <a:cubicBezTo>
                    <a:pt x="177" y="1"/>
                    <a:pt x="177" y="1"/>
                    <a:pt x="177" y="1"/>
                  </a:cubicBezTo>
                  <a:cubicBezTo>
                    <a:pt x="175" y="1"/>
                    <a:pt x="174" y="3"/>
                    <a:pt x="172" y="3"/>
                  </a:cubicBezTo>
                  <a:cubicBezTo>
                    <a:pt x="171" y="2"/>
                    <a:pt x="171" y="2"/>
                    <a:pt x="171" y="2"/>
                  </a:cubicBezTo>
                  <a:cubicBezTo>
                    <a:pt x="167" y="2"/>
                    <a:pt x="162" y="1"/>
                    <a:pt x="158" y="2"/>
                  </a:cubicBezTo>
                  <a:cubicBezTo>
                    <a:pt x="158" y="2"/>
                    <a:pt x="158" y="1"/>
                    <a:pt x="159" y="1"/>
                  </a:cubicBezTo>
                  <a:cubicBezTo>
                    <a:pt x="157" y="1"/>
                    <a:pt x="151" y="0"/>
                    <a:pt x="152" y="2"/>
                  </a:cubicBezTo>
                  <a:cubicBezTo>
                    <a:pt x="152" y="1"/>
                    <a:pt x="148" y="2"/>
                    <a:pt x="145" y="2"/>
                  </a:cubicBezTo>
                  <a:cubicBezTo>
                    <a:pt x="146" y="2"/>
                    <a:pt x="146" y="2"/>
                    <a:pt x="146" y="2"/>
                  </a:cubicBezTo>
                  <a:cubicBezTo>
                    <a:pt x="144" y="3"/>
                    <a:pt x="144" y="3"/>
                    <a:pt x="141" y="3"/>
                  </a:cubicBezTo>
                  <a:cubicBezTo>
                    <a:pt x="140" y="3"/>
                    <a:pt x="140" y="3"/>
                    <a:pt x="141" y="3"/>
                  </a:cubicBezTo>
                  <a:cubicBezTo>
                    <a:pt x="139" y="2"/>
                    <a:pt x="139" y="3"/>
                    <a:pt x="137" y="3"/>
                  </a:cubicBezTo>
                  <a:cubicBezTo>
                    <a:pt x="138" y="3"/>
                    <a:pt x="138" y="3"/>
                    <a:pt x="138" y="3"/>
                  </a:cubicBezTo>
                  <a:cubicBezTo>
                    <a:pt x="135" y="2"/>
                    <a:pt x="136" y="3"/>
                    <a:pt x="134" y="3"/>
                  </a:cubicBezTo>
                  <a:cubicBezTo>
                    <a:pt x="133" y="4"/>
                    <a:pt x="130" y="3"/>
                    <a:pt x="130" y="2"/>
                  </a:cubicBezTo>
                  <a:cubicBezTo>
                    <a:pt x="130" y="3"/>
                    <a:pt x="128" y="3"/>
                    <a:pt x="127" y="3"/>
                  </a:cubicBezTo>
                  <a:cubicBezTo>
                    <a:pt x="127" y="3"/>
                    <a:pt x="127" y="3"/>
                    <a:pt x="128" y="3"/>
                  </a:cubicBezTo>
                  <a:cubicBezTo>
                    <a:pt x="124" y="2"/>
                    <a:pt x="122" y="4"/>
                    <a:pt x="119" y="3"/>
                  </a:cubicBezTo>
                  <a:cubicBezTo>
                    <a:pt x="119" y="3"/>
                    <a:pt x="119" y="2"/>
                    <a:pt x="119" y="2"/>
                  </a:cubicBezTo>
                  <a:cubicBezTo>
                    <a:pt x="122" y="2"/>
                    <a:pt x="124" y="2"/>
                    <a:pt x="124" y="3"/>
                  </a:cubicBezTo>
                  <a:cubicBezTo>
                    <a:pt x="124" y="2"/>
                    <a:pt x="122" y="2"/>
                    <a:pt x="124" y="1"/>
                  </a:cubicBezTo>
                  <a:cubicBezTo>
                    <a:pt x="122" y="1"/>
                    <a:pt x="118" y="2"/>
                    <a:pt x="116" y="2"/>
                  </a:cubicBezTo>
                  <a:cubicBezTo>
                    <a:pt x="116" y="2"/>
                    <a:pt x="116" y="2"/>
                    <a:pt x="116" y="2"/>
                  </a:cubicBezTo>
                  <a:cubicBezTo>
                    <a:pt x="116" y="2"/>
                    <a:pt x="116" y="2"/>
                    <a:pt x="116" y="2"/>
                  </a:cubicBezTo>
                  <a:cubicBezTo>
                    <a:pt x="115" y="2"/>
                    <a:pt x="115" y="2"/>
                    <a:pt x="115" y="2"/>
                  </a:cubicBezTo>
                  <a:cubicBezTo>
                    <a:pt x="114" y="2"/>
                    <a:pt x="113" y="2"/>
                    <a:pt x="113" y="2"/>
                  </a:cubicBezTo>
                  <a:cubicBezTo>
                    <a:pt x="112" y="1"/>
                    <a:pt x="110" y="1"/>
                    <a:pt x="109" y="1"/>
                  </a:cubicBezTo>
                  <a:cubicBezTo>
                    <a:pt x="109" y="2"/>
                    <a:pt x="107" y="2"/>
                    <a:pt x="109" y="3"/>
                  </a:cubicBezTo>
                  <a:cubicBezTo>
                    <a:pt x="108" y="3"/>
                    <a:pt x="109" y="2"/>
                    <a:pt x="110" y="2"/>
                  </a:cubicBezTo>
                  <a:cubicBezTo>
                    <a:pt x="110" y="2"/>
                    <a:pt x="110" y="2"/>
                    <a:pt x="110" y="2"/>
                  </a:cubicBezTo>
                  <a:cubicBezTo>
                    <a:pt x="110" y="2"/>
                    <a:pt x="110" y="2"/>
                    <a:pt x="110" y="2"/>
                  </a:cubicBezTo>
                  <a:cubicBezTo>
                    <a:pt x="111" y="2"/>
                    <a:pt x="112" y="2"/>
                    <a:pt x="113" y="2"/>
                  </a:cubicBezTo>
                  <a:cubicBezTo>
                    <a:pt x="112" y="3"/>
                    <a:pt x="111" y="3"/>
                    <a:pt x="110" y="3"/>
                  </a:cubicBezTo>
                  <a:cubicBezTo>
                    <a:pt x="109" y="3"/>
                    <a:pt x="109" y="4"/>
                    <a:pt x="108" y="4"/>
                  </a:cubicBezTo>
                  <a:cubicBezTo>
                    <a:pt x="107" y="3"/>
                    <a:pt x="103" y="2"/>
                    <a:pt x="103" y="2"/>
                  </a:cubicBezTo>
                  <a:cubicBezTo>
                    <a:pt x="99" y="2"/>
                    <a:pt x="94" y="2"/>
                    <a:pt x="92" y="3"/>
                  </a:cubicBezTo>
                  <a:cubicBezTo>
                    <a:pt x="91" y="4"/>
                    <a:pt x="91" y="3"/>
                    <a:pt x="90" y="3"/>
                  </a:cubicBezTo>
                  <a:cubicBezTo>
                    <a:pt x="91" y="3"/>
                    <a:pt x="92" y="3"/>
                    <a:pt x="92" y="2"/>
                  </a:cubicBezTo>
                  <a:cubicBezTo>
                    <a:pt x="90" y="3"/>
                    <a:pt x="86" y="3"/>
                    <a:pt x="85" y="4"/>
                  </a:cubicBezTo>
                  <a:cubicBezTo>
                    <a:pt x="83" y="3"/>
                    <a:pt x="87" y="3"/>
                    <a:pt x="83" y="3"/>
                  </a:cubicBezTo>
                  <a:cubicBezTo>
                    <a:pt x="84" y="2"/>
                    <a:pt x="84" y="2"/>
                    <a:pt x="84" y="2"/>
                  </a:cubicBezTo>
                  <a:cubicBezTo>
                    <a:pt x="77" y="1"/>
                    <a:pt x="72" y="5"/>
                    <a:pt x="65" y="3"/>
                  </a:cubicBezTo>
                  <a:cubicBezTo>
                    <a:pt x="65" y="3"/>
                    <a:pt x="65" y="3"/>
                    <a:pt x="65" y="3"/>
                  </a:cubicBezTo>
                  <a:cubicBezTo>
                    <a:pt x="57" y="2"/>
                    <a:pt x="47" y="4"/>
                    <a:pt x="38" y="3"/>
                  </a:cubicBezTo>
                  <a:cubicBezTo>
                    <a:pt x="36" y="2"/>
                    <a:pt x="35" y="3"/>
                    <a:pt x="34" y="4"/>
                  </a:cubicBezTo>
                  <a:cubicBezTo>
                    <a:pt x="33" y="3"/>
                    <a:pt x="33" y="3"/>
                    <a:pt x="33" y="3"/>
                  </a:cubicBezTo>
                  <a:cubicBezTo>
                    <a:pt x="31" y="4"/>
                    <a:pt x="31" y="4"/>
                    <a:pt x="31" y="4"/>
                  </a:cubicBezTo>
                  <a:cubicBezTo>
                    <a:pt x="27" y="4"/>
                    <a:pt x="24" y="2"/>
                    <a:pt x="20" y="3"/>
                  </a:cubicBezTo>
                  <a:cubicBezTo>
                    <a:pt x="20" y="4"/>
                    <a:pt x="20" y="4"/>
                    <a:pt x="20" y="4"/>
                  </a:cubicBezTo>
                  <a:cubicBezTo>
                    <a:pt x="19" y="3"/>
                    <a:pt x="15" y="4"/>
                    <a:pt x="15" y="3"/>
                  </a:cubicBezTo>
                  <a:cubicBezTo>
                    <a:pt x="15" y="3"/>
                    <a:pt x="15" y="4"/>
                    <a:pt x="14" y="3"/>
                  </a:cubicBezTo>
                  <a:cubicBezTo>
                    <a:pt x="14" y="3"/>
                    <a:pt x="14" y="3"/>
                    <a:pt x="14" y="3"/>
                  </a:cubicBezTo>
                  <a:cubicBezTo>
                    <a:pt x="10" y="4"/>
                    <a:pt x="10" y="4"/>
                    <a:pt x="10" y="4"/>
                  </a:cubicBezTo>
                  <a:cubicBezTo>
                    <a:pt x="7" y="3"/>
                    <a:pt x="10" y="2"/>
                    <a:pt x="6" y="2"/>
                  </a:cubicBezTo>
                  <a:cubicBezTo>
                    <a:pt x="4" y="2"/>
                    <a:pt x="1" y="3"/>
                    <a:pt x="1" y="4"/>
                  </a:cubicBezTo>
                  <a:cubicBezTo>
                    <a:pt x="2" y="4"/>
                    <a:pt x="3" y="4"/>
                    <a:pt x="3" y="4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1" y="6"/>
                    <a:pt x="0" y="7"/>
                    <a:pt x="4" y="8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8" y="8"/>
                    <a:pt x="8" y="8"/>
                    <a:pt x="8" y="8"/>
                  </a:cubicBezTo>
                  <a:cubicBezTo>
                    <a:pt x="5" y="8"/>
                    <a:pt x="5" y="8"/>
                    <a:pt x="5" y="8"/>
                  </a:cubicBezTo>
                  <a:cubicBezTo>
                    <a:pt x="7" y="8"/>
                    <a:pt x="7" y="8"/>
                    <a:pt x="8" y="7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7"/>
                    <a:pt x="11" y="8"/>
                    <a:pt x="13" y="8"/>
                  </a:cubicBezTo>
                  <a:cubicBezTo>
                    <a:pt x="14" y="8"/>
                    <a:pt x="12" y="7"/>
                    <a:pt x="14" y="7"/>
                  </a:cubicBezTo>
                  <a:cubicBezTo>
                    <a:pt x="15" y="7"/>
                    <a:pt x="15" y="8"/>
                    <a:pt x="16" y="7"/>
                  </a:cubicBezTo>
                  <a:cubicBezTo>
                    <a:pt x="16" y="8"/>
                    <a:pt x="16" y="8"/>
                    <a:pt x="15" y="8"/>
                  </a:cubicBezTo>
                  <a:cubicBezTo>
                    <a:pt x="17" y="8"/>
                    <a:pt x="19" y="8"/>
                    <a:pt x="20" y="7"/>
                  </a:cubicBezTo>
                  <a:cubicBezTo>
                    <a:pt x="21" y="8"/>
                    <a:pt x="24" y="7"/>
                    <a:pt x="24" y="8"/>
                  </a:cubicBezTo>
                  <a:cubicBezTo>
                    <a:pt x="25" y="8"/>
                    <a:pt x="27" y="7"/>
                    <a:pt x="28" y="7"/>
                  </a:cubicBezTo>
                  <a:cubicBezTo>
                    <a:pt x="25" y="9"/>
                    <a:pt x="32" y="7"/>
                    <a:pt x="32" y="9"/>
                  </a:cubicBezTo>
                  <a:cubicBezTo>
                    <a:pt x="34" y="7"/>
                    <a:pt x="38" y="8"/>
                    <a:pt x="41" y="7"/>
                  </a:cubicBezTo>
                  <a:cubicBezTo>
                    <a:pt x="41" y="8"/>
                    <a:pt x="40" y="8"/>
                    <a:pt x="40" y="8"/>
                  </a:cubicBezTo>
                  <a:cubicBezTo>
                    <a:pt x="42" y="8"/>
                    <a:pt x="42" y="8"/>
                    <a:pt x="43" y="8"/>
                  </a:cubicBezTo>
                  <a:cubicBezTo>
                    <a:pt x="44" y="7"/>
                    <a:pt x="46" y="7"/>
                    <a:pt x="48" y="6"/>
                  </a:cubicBezTo>
                  <a:cubicBezTo>
                    <a:pt x="50" y="7"/>
                    <a:pt x="46" y="8"/>
                    <a:pt x="47" y="9"/>
                  </a:cubicBezTo>
                  <a:cubicBezTo>
                    <a:pt x="47" y="8"/>
                    <a:pt x="51" y="8"/>
                    <a:pt x="50" y="7"/>
                  </a:cubicBezTo>
                  <a:cubicBezTo>
                    <a:pt x="52" y="8"/>
                    <a:pt x="51" y="7"/>
                    <a:pt x="52" y="8"/>
                  </a:cubicBezTo>
                  <a:cubicBezTo>
                    <a:pt x="52" y="7"/>
                    <a:pt x="54" y="8"/>
                    <a:pt x="55" y="7"/>
                  </a:cubicBezTo>
                  <a:cubicBezTo>
                    <a:pt x="57" y="8"/>
                    <a:pt x="56" y="8"/>
                    <a:pt x="58" y="8"/>
                  </a:cubicBezTo>
                  <a:cubicBezTo>
                    <a:pt x="59" y="8"/>
                    <a:pt x="57" y="9"/>
                    <a:pt x="57" y="9"/>
                  </a:cubicBezTo>
                  <a:close/>
                  <a:moveTo>
                    <a:pt x="117" y="7"/>
                  </a:moveTo>
                  <a:cubicBezTo>
                    <a:pt x="117" y="7"/>
                    <a:pt x="117" y="7"/>
                    <a:pt x="117" y="7"/>
                  </a:cubicBezTo>
                  <a:cubicBezTo>
                    <a:pt x="116" y="7"/>
                    <a:pt x="116" y="7"/>
                    <a:pt x="115" y="7"/>
                  </a:cubicBezTo>
                  <a:cubicBezTo>
                    <a:pt x="116" y="7"/>
                    <a:pt x="116" y="7"/>
                    <a:pt x="117" y="7"/>
                  </a:cubicBezTo>
                  <a:close/>
                  <a:moveTo>
                    <a:pt x="122" y="7"/>
                  </a:moveTo>
                  <a:cubicBezTo>
                    <a:pt x="121" y="7"/>
                    <a:pt x="120" y="7"/>
                    <a:pt x="120" y="7"/>
                  </a:cubicBezTo>
                  <a:cubicBezTo>
                    <a:pt x="119" y="6"/>
                    <a:pt x="120" y="6"/>
                    <a:pt x="120" y="6"/>
                  </a:cubicBezTo>
                  <a:cubicBezTo>
                    <a:pt x="120" y="6"/>
                    <a:pt x="121" y="6"/>
                    <a:pt x="122" y="7"/>
                  </a:cubicBezTo>
                  <a:close/>
                  <a:moveTo>
                    <a:pt x="111" y="1"/>
                  </a:moveTo>
                  <a:cubicBezTo>
                    <a:pt x="112" y="1"/>
                    <a:pt x="112" y="2"/>
                    <a:pt x="112" y="2"/>
                  </a:cubicBezTo>
                  <a:cubicBezTo>
                    <a:pt x="112" y="2"/>
                    <a:pt x="111" y="2"/>
                    <a:pt x="111" y="2"/>
                  </a:cubicBezTo>
                  <a:cubicBezTo>
                    <a:pt x="111" y="2"/>
                    <a:pt x="111" y="2"/>
                    <a:pt x="111" y="2"/>
                  </a:cubicBezTo>
                  <a:cubicBezTo>
                    <a:pt x="111" y="2"/>
                    <a:pt x="111" y="2"/>
                    <a:pt x="111" y="1"/>
                  </a:cubicBezTo>
                  <a:close/>
                </a:path>
              </a:pathLst>
            </a:custGeom>
            <a:solidFill>
              <a:srgbClr val="FFFFFF">
                <a:lumMod val="5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F3250"/>
                </a:solidFill>
                <a:effectLst/>
                <a:uLnTx/>
                <a:uFillTx/>
              </a:endParaRPr>
            </a:p>
          </p:txBody>
        </p:sp>
        <p:grpSp>
          <p:nvGrpSpPr>
            <p:cNvPr id="92" name="Group 91">
              <a:extLst>
                <a:ext uri="{FF2B5EF4-FFF2-40B4-BE49-F238E27FC236}">
                  <a16:creationId xmlns:a16="http://schemas.microsoft.com/office/drawing/2014/main" id="{BB854F3D-897F-D8B2-AE27-B47034530FE7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5385923" y="2785515"/>
              <a:ext cx="213210" cy="416103"/>
              <a:chOff x="8765515" y="3527298"/>
              <a:chExt cx="446142" cy="627973"/>
            </a:xfrm>
          </p:grpSpPr>
          <p:sp>
            <p:nvSpPr>
              <p:cNvPr id="93" name="Rectangle 92">
                <a:extLst>
                  <a:ext uri="{FF2B5EF4-FFF2-40B4-BE49-F238E27FC236}">
                    <a16:creationId xmlns:a16="http://schemas.microsoft.com/office/drawing/2014/main" id="{989923AC-9523-71E6-01C4-4AC453199F8B}"/>
                  </a:ext>
                </a:extLst>
              </p:cNvPr>
              <p:cNvSpPr/>
              <p:nvPr/>
            </p:nvSpPr>
            <p:spPr bwMode="gray">
              <a:xfrm>
                <a:off x="8914589" y="3563499"/>
                <a:ext cx="147994" cy="561484"/>
              </a:xfrm>
              <a:prstGeom prst="rect">
                <a:avLst/>
              </a:prstGeom>
              <a:solidFill>
                <a:srgbClr val="FFFFFF"/>
              </a:solidFill>
              <a:ln w="9525" algn="ctr">
                <a:noFill/>
                <a:miter lim="800000"/>
                <a:headEnd/>
                <a:tailEnd/>
              </a:ln>
              <a:effectLst/>
            </p:spPr>
            <p:txBody>
              <a:bodyPr wrap="square" lIns="36000" tIns="36000" rIns="36000" bIns="36000" rtlCol="0" anchor="ctr"/>
              <a:lstStyle/>
              <a:p>
                <a:pPr marL="182563" marR="0" lvl="0" indent="-182563" algn="ctr" defTabSz="914400" eaLnBrk="1" fontAlgn="auto" latinLnBrk="0" hangingPunct="1">
                  <a:lnSpc>
                    <a:spcPct val="106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Wingdings" panose="05000000000000000000" pitchFamily="2" charset="2"/>
                  <a:buChar char="§"/>
                  <a:tabLst/>
                  <a:defRPr/>
                </a:pPr>
                <a:endParaRPr kumimoji="0" lang="it-IT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0F3250"/>
                  </a:solidFill>
                  <a:effectLst/>
                  <a:uLnTx/>
                  <a:uFillTx/>
                </a:endParaRPr>
              </a:p>
            </p:txBody>
          </p:sp>
          <p:grpSp>
            <p:nvGrpSpPr>
              <p:cNvPr id="94" name="Group 93">
                <a:extLst>
                  <a:ext uri="{FF2B5EF4-FFF2-40B4-BE49-F238E27FC236}">
                    <a16:creationId xmlns:a16="http://schemas.microsoft.com/office/drawing/2014/main" id="{32063F2D-06FE-25EF-710F-4D965E6D11C1}"/>
                  </a:ext>
                </a:extLst>
              </p:cNvPr>
              <p:cNvGrpSpPr>
                <a:grpSpLocks noChangeAspect="1"/>
              </p:cNvGrpSpPr>
              <p:nvPr/>
            </p:nvGrpSpPr>
            <p:grpSpPr>
              <a:xfrm>
                <a:off x="8765515" y="3527298"/>
                <a:ext cx="446142" cy="627973"/>
                <a:chOff x="5875169" y="1723101"/>
                <a:chExt cx="436472" cy="657463"/>
              </a:xfrm>
            </p:grpSpPr>
            <p:sp>
              <p:nvSpPr>
                <p:cNvPr id="95" name="Rectangle 94">
                  <a:extLst>
                    <a:ext uri="{FF2B5EF4-FFF2-40B4-BE49-F238E27FC236}">
                      <a16:creationId xmlns:a16="http://schemas.microsoft.com/office/drawing/2014/main" id="{C179B829-2957-62F1-5A0D-48A4A2F46972}"/>
                    </a:ext>
                  </a:extLst>
                </p:cNvPr>
                <p:cNvSpPr/>
                <p:nvPr/>
              </p:nvSpPr>
              <p:spPr>
                <a:xfrm>
                  <a:off x="5967732" y="1814142"/>
                  <a:ext cx="181394" cy="531263"/>
                </a:xfrm>
                <a:prstGeom prst="rect">
                  <a:avLst/>
                </a:prstGeom>
                <a:solidFill>
                  <a:srgbClr val="FFFFFF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ot="0" spcFirstLastPara="0" vertOverflow="overflow" horzOverflow="overflow" vert="horz" wrap="square" lIns="62191" tIns="31095" rIns="62191" bIns="31095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it-IT" sz="1224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F3250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96" name="Freeform 127">
                  <a:extLst>
                    <a:ext uri="{FF2B5EF4-FFF2-40B4-BE49-F238E27FC236}">
                      <a16:creationId xmlns:a16="http://schemas.microsoft.com/office/drawing/2014/main" id="{8284D6D1-313D-5D30-C610-35E1E02E4A9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flipH="1">
                  <a:off x="5875169" y="1723101"/>
                  <a:ext cx="277125" cy="657463"/>
                </a:xfrm>
                <a:custGeom>
                  <a:avLst/>
                  <a:gdLst>
                    <a:gd name="T0" fmla="*/ 25 w 40"/>
                    <a:gd name="T1" fmla="*/ 69 h 76"/>
                    <a:gd name="T2" fmla="*/ 26 w 40"/>
                    <a:gd name="T3" fmla="*/ 70 h 76"/>
                    <a:gd name="T4" fmla="*/ 27 w 40"/>
                    <a:gd name="T5" fmla="*/ 71 h 76"/>
                    <a:gd name="T6" fmla="*/ 36 w 40"/>
                    <a:gd name="T7" fmla="*/ 61 h 76"/>
                    <a:gd name="T8" fmla="*/ 11 w 40"/>
                    <a:gd name="T9" fmla="*/ 38 h 76"/>
                    <a:gd name="T10" fmla="*/ 36 w 40"/>
                    <a:gd name="T11" fmla="*/ 14 h 76"/>
                    <a:gd name="T12" fmla="*/ 37 w 40"/>
                    <a:gd name="T13" fmla="*/ 13 h 76"/>
                    <a:gd name="T14" fmla="*/ 26 w 40"/>
                    <a:gd name="T15" fmla="*/ 5 h 76"/>
                    <a:gd name="T16" fmla="*/ 25 w 40"/>
                    <a:gd name="T17" fmla="*/ 7 h 76"/>
                    <a:gd name="T18" fmla="*/ 25 w 40"/>
                    <a:gd name="T19" fmla="*/ 14 h 76"/>
                    <a:gd name="T20" fmla="*/ 23 w 40"/>
                    <a:gd name="T21" fmla="*/ 17 h 76"/>
                    <a:gd name="T22" fmla="*/ 0 w 40"/>
                    <a:gd name="T23" fmla="*/ 38 h 76"/>
                    <a:gd name="T24" fmla="*/ 23 w 40"/>
                    <a:gd name="T25" fmla="*/ 59 h 76"/>
                    <a:gd name="T26" fmla="*/ 25 w 40"/>
                    <a:gd name="T27" fmla="*/ 69 h 7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40" h="76">
                      <a:moveTo>
                        <a:pt x="25" y="69"/>
                      </a:moveTo>
                      <a:cubicBezTo>
                        <a:pt x="26" y="70"/>
                        <a:pt x="26" y="70"/>
                        <a:pt x="26" y="70"/>
                      </a:cubicBezTo>
                      <a:cubicBezTo>
                        <a:pt x="26" y="70"/>
                        <a:pt x="27" y="71"/>
                        <a:pt x="27" y="71"/>
                      </a:cubicBezTo>
                      <a:cubicBezTo>
                        <a:pt x="36" y="76"/>
                        <a:pt x="40" y="68"/>
                        <a:pt x="36" y="61"/>
                      </a:cubicBezTo>
                      <a:cubicBezTo>
                        <a:pt x="11" y="38"/>
                        <a:pt x="11" y="38"/>
                        <a:pt x="11" y="38"/>
                      </a:cubicBezTo>
                      <a:cubicBezTo>
                        <a:pt x="36" y="14"/>
                        <a:pt x="36" y="14"/>
                        <a:pt x="36" y="14"/>
                      </a:cubicBezTo>
                      <a:cubicBezTo>
                        <a:pt x="36" y="14"/>
                        <a:pt x="37" y="13"/>
                        <a:pt x="37" y="13"/>
                      </a:cubicBezTo>
                      <a:cubicBezTo>
                        <a:pt x="40" y="6"/>
                        <a:pt x="33" y="0"/>
                        <a:pt x="26" y="5"/>
                      </a:cubicBezTo>
                      <a:cubicBezTo>
                        <a:pt x="25" y="7"/>
                        <a:pt x="25" y="7"/>
                        <a:pt x="25" y="7"/>
                      </a:cubicBezTo>
                      <a:cubicBezTo>
                        <a:pt x="26" y="9"/>
                        <a:pt x="26" y="12"/>
                        <a:pt x="25" y="14"/>
                      </a:cubicBezTo>
                      <a:cubicBezTo>
                        <a:pt x="24" y="15"/>
                        <a:pt x="23" y="17"/>
                        <a:pt x="23" y="17"/>
                      </a:cubicBezTo>
                      <a:cubicBezTo>
                        <a:pt x="0" y="38"/>
                        <a:pt x="0" y="38"/>
                        <a:pt x="0" y="38"/>
                      </a:cubicBezTo>
                      <a:cubicBezTo>
                        <a:pt x="23" y="59"/>
                        <a:pt x="23" y="59"/>
                        <a:pt x="23" y="59"/>
                      </a:cubicBezTo>
                      <a:cubicBezTo>
                        <a:pt x="25" y="62"/>
                        <a:pt x="25" y="65"/>
                        <a:pt x="25" y="69"/>
                      </a:cubicBezTo>
                      <a:close/>
                    </a:path>
                  </a:pathLst>
                </a:custGeom>
                <a:solidFill>
                  <a:srgbClr val="35547A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62191" tIns="31095" rIns="62191" bIns="31095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it-IT" sz="1224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F325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97" name="Freeform 128">
                  <a:extLst>
                    <a:ext uri="{FF2B5EF4-FFF2-40B4-BE49-F238E27FC236}">
                      <a16:creationId xmlns:a16="http://schemas.microsoft.com/office/drawing/2014/main" id="{8EF9DB96-13C0-6633-C598-DC88B47FD3E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flipH="1">
                  <a:off x="5986019" y="1723101"/>
                  <a:ext cx="325622" cy="657463"/>
                </a:xfrm>
                <a:custGeom>
                  <a:avLst/>
                  <a:gdLst>
                    <a:gd name="T0" fmla="*/ 0 w 47"/>
                    <a:gd name="T1" fmla="*/ 38 h 76"/>
                    <a:gd name="T2" fmla="*/ 3 w 47"/>
                    <a:gd name="T3" fmla="*/ 43 h 76"/>
                    <a:gd name="T4" fmla="*/ 33 w 47"/>
                    <a:gd name="T5" fmla="*/ 70 h 76"/>
                    <a:gd name="T6" fmla="*/ 34 w 47"/>
                    <a:gd name="T7" fmla="*/ 71 h 76"/>
                    <a:gd name="T8" fmla="*/ 43 w 47"/>
                    <a:gd name="T9" fmla="*/ 61 h 76"/>
                    <a:gd name="T10" fmla="*/ 17 w 47"/>
                    <a:gd name="T11" fmla="*/ 38 h 76"/>
                    <a:gd name="T12" fmla="*/ 43 w 47"/>
                    <a:gd name="T13" fmla="*/ 14 h 76"/>
                    <a:gd name="T14" fmla="*/ 44 w 47"/>
                    <a:gd name="T15" fmla="*/ 13 h 76"/>
                    <a:gd name="T16" fmla="*/ 33 w 47"/>
                    <a:gd name="T17" fmla="*/ 5 h 76"/>
                    <a:gd name="T18" fmla="*/ 3 w 47"/>
                    <a:gd name="T19" fmla="*/ 32 h 76"/>
                    <a:gd name="T20" fmla="*/ 0 w 47"/>
                    <a:gd name="T21" fmla="*/ 38 h 7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47" h="76">
                      <a:moveTo>
                        <a:pt x="0" y="38"/>
                      </a:moveTo>
                      <a:cubicBezTo>
                        <a:pt x="0" y="40"/>
                        <a:pt x="2" y="42"/>
                        <a:pt x="3" y="43"/>
                      </a:cubicBezTo>
                      <a:cubicBezTo>
                        <a:pt x="33" y="70"/>
                        <a:pt x="33" y="70"/>
                        <a:pt x="33" y="70"/>
                      </a:cubicBezTo>
                      <a:cubicBezTo>
                        <a:pt x="33" y="70"/>
                        <a:pt x="33" y="71"/>
                        <a:pt x="34" y="71"/>
                      </a:cubicBezTo>
                      <a:cubicBezTo>
                        <a:pt x="42" y="76"/>
                        <a:pt x="47" y="68"/>
                        <a:pt x="43" y="61"/>
                      </a:cubicBezTo>
                      <a:cubicBezTo>
                        <a:pt x="17" y="38"/>
                        <a:pt x="17" y="38"/>
                        <a:pt x="17" y="38"/>
                      </a:cubicBezTo>
                      <a:cubicBezTo>
                        <a:pt x="43" y="14"/>
                        <a:pt x="43" y="14"/>
                        <a:pt x="43" y="14"/>
                      </a:cubicBezTo>
                      <a:cubicBezTo>
                        <a:pt x="43" y="14"/>
                        <a:pt x="44" y="13"/>
                        <a:pt x="44" y="13"/>
                      </a:cubicBezTo>
                      <a:cubicBezTo>
                        <a:pt x="47" y="6"/>
                        <a:pt x="40" y="0"/>
                        <a:pt x="33" y="5"/>
                      </a:cubicBezTo>
                      <a:cubicBezTo>
                        <a:pt x="3" y="32"/>
                        <a:pt x="3" y="32"/>
                        <a:pt x="3" y="32"/>
                      </a:cubicBezTo>
                      <a:cubicBezTo>
                        <a:pt x="1" y="34"/>
                        <a:pt x="0" y="36"/>
                        <a:pt x="0" y="38"/>
                      </a:cubicBezTo>
                      <a:close/>
                    </a:path>
                  </a:pathLst>
                </a:custGeom>
                <a:solidFill>
                  <a:srgbClr val="386DB2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62191" tIns="31095" rIns="62191" bIns="31095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it-IT" sz="1224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F3250"/>
                    </a:solidFill>
                    <a:effectLst/>
                    <a:uLnTx/>
                    <a:uFillTx/>
                  </a:endParaRPr>
                </a:p>
              </p:txBody>
            </p:sp>
          </p:grpSp>
        </p:grpSp>
      </p:grpSp>
    </p:spTree>
    <p:extLst>
      <p:ext uri="{BB962C8B-B14F-4D97-AF65-F5344CB8AC3E}">
        <p14:creationId xmlns:p14="http://schemas.microsoft.com/office/powerpoint/2010/main" val="31712405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DAA1F63F-0CC6-DB72-2A8E-8EDC81DEE17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55913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AA1F63F-0CC6-DB72-2A8E-8EDC81DEE17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7" name="Group 56" hidden="1">
            <a:extLst>
              <a:ext uri="{FF2B5EF4-FFF2-40B4-BE49-F238E27FC236}">
                <a16:creationId xmlns:a16="http://schemas.microsoft.com/office/drawing/2014/main" id="{8A67805C-40B3-3EB5-29E4-F8E643CD6EA1}"/>
              </a:ext>
            </a:extLst>
          </p:cNvPr>
          <p:cNvGrpSpPr/>
          <p:nvPr/>
        </p:nvGrpSpPr>
        <p:grpSpPr>
          <a:xfrm>
            <a:off x="0" y="480916"/>
            <a:ext cx="9144000" cy="4186430"/>
            <a:chOff x="-10512" y="1054048"/>
            <a:chExt cx="12192000" cy="5065579"/>
          </a:xfrm>
        </p:grpSpPr>
        <p:pic>
          <p:nvPicPr>
            <p:cNvPr id="58" name="Picture 4" descr="Immagine correlata" hidden="1">
              <a:extLst>
                <a:ext uri="{FF2B5EF4-FFF2-40B4-BE49-F238E27FC236}">
                  <a16:creationId xmlns:a16="http://schemas.microsoft.com/office/drawing/2014/main" id="{DA637948-081E-5E52-67A7-C6B817EF0EE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 cstate="email">
              <a:duotone>
                <a:schemeClr val="bg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-10512" y="1058117"/>
              <a:ext cx="12192000" cy="5057442"/>
            </a:xfrm>
            <a:prstGeom prst="rect">
              <a:avLst/>
            </a:prstGeom>
            <a:noFill/>
          </p:spPr>
        </p:pic>
        <p:sp>
          <p:nvSpPr>
            <p:cNvPr id="59" name="Rectangle 58" hidden="1">
              <a:extLst>
                <a:ext uri="{FF2B5EF4-FFF2-40B4-BE49-F238E27FC236}">
                  <a16:creationId xmlns:a16="http://schemas.microsoft.com/office/drawing/2014/main" id="{20C4DF4B-0ED4-592C-F3CF-BE15FB0AA58E}"/>
                </a:ext>
              </a:extLst>
            </p:cNvPr>
            <p:cNvSpPr/>
            <p:nvPr/>
          </p:nvSpPr>
          <p:spPr bwMode="auto">
            <a:xfrm>
              <a:off x="-10512" y="1054048"/>
              <a:ext cx="12192000" cy="5065579"/>
            </a:xfrm>
            <a:prstGeom prst="rect">
              <a:avLst/>
            </a:prstGeom>
            <a:solidFill>
              <a:schemeClr val="bg1">
                <a:alpha val="87000"/>
              </a:schemeClr>
            </a:solidFill>
            <a:ln w="9525">
              <a:noFill/>
              <a:round/>
              <a:headEnd/>
              <a:tailEnd/>
            </a:ln>
            <a:effectLst/>
          </p:spPr>
          <p:txBody>
            <a:bodyPr rtlCol="0" anchor="ctr">
              <a:noAutofit/>
            </a:bodyPr>
            <a:lstStyle/>
            <a:p>
              <a:pPr algn="ctr" defTabSz="892941"/>
              <a:endParaRPr lang="en-US" sz="1200" b="1" kern="0" dirty="0">
                <a:solidFill>
                  <a:prstClr val="white"/>
                </a:solidFill>
                <a:latin typeface="Arial Regular"/>
              </a:endParaRPr>
            </a:p>
          </p:txBody>
        </p:sp>
      </p:grp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BD72CD9E-9970-91BF-59B4-957C5ECF07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98DEE5-5424-45CB-8336-3215AFBD0173}" type="slidenum">
              <a:rPr lang="it-IT" smtClean="0"/>
              <a:pPr/>
              <a:t>9</a:t>
            </a:fld>
            <a:endParaRPr lang="it-IT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A10BFB40-2A5A-616C-268F-A9F1A0A5A7E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Urban mobility studies for the Municipality of Trento | First evidences</a:t>
            </a:r>
            <a:endParaRPr lang="it-IT" dirty="0"/>
          </a:p>
        </p:txBody>
      </p:sp>
      <p:cxnSp>
        <p:nvCxnSpPr>
          <p:cNvPr id="60" name="Straight Connector 59">
            <a:extLst>
              <a:ext uri="{FF2B5EF4-FFF2-40B4-BE49-F238E27FC236}">
                <a16:creationId xmlns:a16="http://schemas.microsoft.com/office/drawing/2014/main" id="{7B2C8ABD-6F24-747A-187F-4D1A82CE36AD}"/>
              </a:ext>
            </a:extLst>
          </p:cNvPr>
          <p:cNvCxnSpPr>
            <a:cxnSpLocks/>
          </p:cNvCxnSpPr>
          <p:nvPr/>
        </p:nvCxnSpPr>
        <p:spPr>
          <a:xfrm>
            <a:off x="4575096" y="812856"/>
            <a:ext cx="0" cy="382123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Immagine 7">
            <a:extLst>
              <a:ext uri="{FF2B5EF4-FFF2-40B4-BE49-F238E27FC236}">
                <a16:creationId xmlns:a16="http://schemas.microsoft.com/office/drawing/2014/main" id="{C4D123B1-2065-9870-7175-C15ABF8CE62F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t="15349"/>
          <a:stretch/>
        </p:blipFill>
        <p:spPr>
          <a:xfrm>
            <a:off x="759913" y="980063"/>
            <a:ext cx="3087185" cy="2708233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</p:spPr>
      </p:pic>
      <p:sp>
        <p:nvSpPr>
          <p:cNvPr id="11" name="Rectangle 3">
            <a:extLst>
              <a:ext uri="{FF2B5EF4-FFF2-40B4-BE49-F238E27FC236}">
                <a16:creationId xmlns:a16="http://schemas.microsoft.com/office/drawing/2014/main" id="{67F08C79-ED56-0523-E580-63466F908D1D}"/>
              </a:ext>
            </a:extLst>
          </p:cNvPr>
          <p:cNvSpPr/>
          <p:nvPr/>
        </p:nvSpPr>
        <p:spPr>
          <a:xfrm>
            <a:off x="173965" y="3857865"/>
            <a:ext cx="4276800" cy="77083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Low-flow urban roads </a:t>
            </a:r>
            <a:r>
              <a:rPr lang="en-US" sz="1200" dirty="0">
                <a:solidFill>
                  <a:schemeClr val="tx1"/>
                </a:solidFill>
              </a:rPr>
              <a:t>with an </a:t>
            </a:r>
            <a:r>
              <a:rPr lang="en-US" sz="1200" b="1" dirty="0">
                <a:solidFill>
                  <a:schemeClr val="tx1"/>
                </a:solidFill>
              </a:rPr>
              <a:t>average speed </a:t>
            </a:r>
            <a:r>
              <a:rPr lang="en-US" sz="1200" dirty="0">
                <a:solidFill>
                  <a:schemeClr val="tx1"/>
                </a:solidFill>
              </a:rPr>
              <a:t>already recorded </a:t>
            </a:r>
            <a:r>
              <a:rPr lang="en-US" sz="1200" b="1" dirty="0">
                <a:solidFill>
                  <a:schemeClr val="tx1"/>
                </a:solidFill>
              </a:rPr>
              <a:t>within 30km/h</a:t>
            </a:r>
            <a:r>
              <a:rPr lang="en-US" sz="1200" dirty="0">
                <a:solidFill>
                  <a:schemeClr val="tx1"/>
                </a:solidFill>
              </a:rPr>
              <a:t>. It will be possible to </a:t>
            </a:r>
            <a:r>
              <a:rPr lang="en-US" sz="1200" b="1" dirty="0">
                <a:solidFill>
                  <a:schemeClr val="tx1"/>
                </a:solidFill>
              </a:rPr>
              <a:t>monitor specific road arches </a:t>
            </a:r>
            <a:r>
              <a:rPr lang="en-US" sz="1200" dirty="0">
                <a:solidFill>
                  <a:schemeClr val="tx1"/>
                </a:solidFill>
              </a:rPr>
              <a:t>based on the </a:t>
            </a:r>
            <a:r>
              <a:rPr lang="en-US" sz="1200" b="1" dirty="0">
                <a:solidFill>
                  <a:schemeClr val="tx1"/>
                </a:solidFill>
              </a:rPr>
              <a:t>Municipality's considerations </a:t>
            </a:r>
            <a:r>
              <a:rPr lang="en-US" sz="1200" dirty="0">
                <a:solidFill>
                  <a:schemeClr val="tx1"/>
                </a:solidFill>
              </a:rPr>
              <a:t>(e.g. proximity to schools, hospitals)</a:t>
            </a:r>
            <a:endParaRPr lang="it-IT" sz="1200" dirty="0">
              <a:solidFill>
                <a:schemeClr val="tx1"/>
              </a:solidFill>
            </a:endParaRPr>
          </a:p>
        </p:txBody>
      </p:sp>
      <p:pic>
        <p:nvPicPr>
          <p:cNvPr id="23" name="Immagine 22">
            <a:extLst>
              <a:ext uri="{FF2B5EF4-FFF2-40B4-BE49-F238E27FC236}">
                <a16:creationId xmlns:a16="http://schemas.microsoft.com/office/drawing/2014/main" id="{F578D13E-710F-533D-3D46-A2A7A98E2CE3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t="7583"/>
          <a:stretch/>
        </p:blipFill>
        <p:spPr>
          <a:xfrm>
            <a:off x="5341693" y="980063"/>
            <a:ext cx="2967037" cy="2708233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</p:spPr>
      </p:pic>
      <p:sp>
        <p:nvSpPr>
          <p:cNvPr id="24" name="Rectangle 3">
            <a:extLst>
              <a:ext uri="{FF2B5EF4-FFF2-40B4-BE49-F238E27FC236}">
                <a16:creationId xmlns:a16="http://schemas.microsoft.com/office/drawing/2014/main" id="{AC8FACE0-59CF-C625-BFC1-8CD89CF1A8EE}"/>
              </a:ext>
            </a:extLst>
          </p:cNvPr>
          <p:cNvSpPr/>
          <p:nvPr/>
        </p:nvSpPr>
        <p:spPr>
          <a:xfrm>
            <a:off x="4686811" y="3857865"/>
            <a:ext cx="4276800" cy="77083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Low concentration </a:t>
            </a:r>
            <a:r>
              <a:rPr lang="en-US" sz="1200" dirty="0">
                <a:solidFill>
                  <a:schemeClr val="tx1"/>
                </a:solidFill>
              </a:rPr>
              <a:t>of </a:t>
            </a:r>
            <a:r>
              <a:rPr lang="en-US" sz="1200" b="1" dirty="0">
                <a:solidFill>
                  <a:schemeClr val="tx1"/>
                </a:solidFill>
              </a:rPr>
              <a:t>braking events </a:t>
            </a:r>
            <a:r>
              <a:rPr lang="en-US" sz="1200" dirty="0">
                <a:solidFill>
                  <a:schemeClr val="tx1"/>
                </a:solidFill>
              </a:rPr>
              <a:t>in specific points of the </a:t>
            </a:r>
            <a:r>
              <a:rPr lang="en-US" sz="1200" b="1" dirty="0">
                <a:solidFill>
                  <a:schemeClr val="tx1"/>
                </a:solidFill>
              </a:rPr>
              <a:t>ring road </a:t>
            </a:r>
            <a:r>
              <a:rPr lang="en-US" sz="1200" dirty="0">
                <a:solidFill>
                  <a:schemeClr val="tx1"/>
                </a:solidFill>
              </a:rPr>
              <a:t>(e.g. ramps, roundabouts) and in some </a:t>
            </a:r>
            <a:r>
              <a:rPr lang="en-US" sz="1200" b="1" dirty="0">
                <a:solidFill>
                  <a:schemeClr val="tx1"/>
                </a:solidFill>
              </a:rPr>
              <a:t>segments </a:t>
            </a:r>
            <a:r>
              <a:rPr lang="en-US" sz="1200" dirty="0">
                <a:solidFill>
                  <a:schemeClr val="tx1"/>
                </a:solidFill>
              </a:rPr>
              <a:t>of the road network (yellow-orange on the map) which could represent a </a:t>
            </a:r>
            <a:r>
              <a:rPr lang="en-US" sz="1200" b="1" dirty="0">
                <a:solidFill>
                  <a:schemeClr val="tx1"/>
                </a:solidFill>
              </a:rPr>
              <a:t>phenomenon requiring further investigation</a:t>
            </a:r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CBBF4C9F-6B4B-9403-50A0-DEE70CED5C5D}"/>
              </a:ext>
            </a:extLst>
          </p:cNvPr>
          <p:cNvSpPr/>
          <p:nvPr/>
        </p:nvSpPr>
        <p:spPr>
          <a:xfrm>
            <a:off x="210747" y="753533"/>
            <a:ext cx="4203237" cy="3920067"/>
          </a:xfrm>
          <a:prstGeom prst="roundRect">
            <a:avLst>
              <a:gd name="adj" fmla="val 6557"/>
            </a:avLst>
          </a:prstGeom>
          <a:noFill/>
          <a:ln w="9525"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1204549D-81D2-58CB-3A47-A65D9537C1EB}"/>
              </a:ext>
            </a:extLst>
          </p:cNvPr>
          <p:cNvGrpSpPr/>
          <p:nvPr/>
        </p:nvGrpSpPr>
        <p:grpSpPr>
          <a:xfrm>
            <a:off x="849008" y="585969"/>
            <a:ext cx="2784810" cy="325827"/>
            <a:chOff x="849008" y="1115894"/>
            <a:chExt cx="2784810" cy="325827"/>
          </a:xfrm>
        </p:grpSpPr>
        <p:sp>
          <p:nvSpPr>
            <p:cNvPr id="44" name="Rectangle: Rounded Corners 43">
              <a:extLst>
                <a:ext uri="{FF2B5EF4-FFF2-40B4-BE49-F238E27FC236}">
                  <a16:creationId xmlns:a16="http://schemas.microsoft.com/office/drawing/2014/main" id="{50AE7355-575A-D69A-0F87-07923C2CECBD}"/>
                </a:ext>
              </a:extLst>
            </p:cNvPr>
            <p:cNvSpPr/>
            <p:nvPr/>
          </p:nvSpPr>
          <p:spPr>
            <a:xfrm>
              <a:off x="999811" y="1115894"/>
              <a:ext cx="2634007" cy="325827"/>
            </a:xfrm>
            <a:prstGeom prst="roundRect">
              <a:avLst/>
            </a:prstGeom>
            <a:solidFill>
              <a:schemeClr val="bg1"/>
            </a:solidFill>
            <a:ln>
              <a:solidFill>
                <a:schemeClr val="tx2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it-IT" sz="1600" b="1" dirty="0">
                  <a:solidFill>
                    <a:schemeClr val="tx1"/>
                  </a:solidFill>
                </a:rPr>
                <a:t>Speeds study</a:t>
              </a:r>
            </a:p>
          </p:txBody>
        </p:sp>
        <p:grpSp>
          <p:nvGrpSpPr>
            <p:cNvPr id="55" name="Group 54">
              <a:extLst>
                <a:ext uri="{FF2B5EF4-FFF2-40B4-BE49-F238E27FC236}">
                  <a16:creationId xmlns:a16="http://schemas.microsoft.com/office/drawing/2014/main" id="{62024DB1-9F1C-9EA0-62C3-753844B9D493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849008" y="1118561"/>
              <a:ext cx="320492" cy="320492"/>
              <a:chOff x="4757722" y="3673929"/>
              <a:chExt cx="914400" cy="914400"/>
            </a:xfrm>
          </p:grpSpPr>
          <p:sp>
            <p:nvSpPr>
              <p:cNvPr id="54" name="Oval 53">
                <a:extLst>
                  <a:ext uri="{FF2B5EF4-FFF2-40B4-BE49-F238E27FC236}">
                    <a16:creationId xmlns:a16="http://schemas.microsoft.com/office/drawing/2014/main" id="{F2CBB46A-CFE2-57D5-545A-51E2449EB4AF}"/>
                  </a:ext>
                </a:extLst>
              </p:cNvPr>
              <p:cNvSpPr/>
              <p:nvPr/>
            </p:nvSpPr>
            <p:spPr>
              <a:xfrm>
                <a:off x="4757722" y="3673929"/>
                <a:ext cx="914400" cy="91440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it-IT"/>
              </a:p>
            </p:txBody>
          </p:sp>
          <p:pic>
            <p:nvPicPr>
              <p:cNvPr id="52" name="Graphic 51" descr="Badge 1 with solid fill">
                <a:extLst>
                  <a:ext uri="{FF2B5EF4-FFF2-40B4-BE49-F238E27FC236}">
                    <a16:creationId xmlns:a16="http://schemas.microsoft.com/office/drawing/2014/main" id="{583A93BF-532D-5FA7-3161-51DE8186037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9"/>
                  </a:ext>
                </a:extLst>
              </a:blip>
              <a:stretch>
                <a:fillRect/>
              </a:stretch>
            </p:blipFill>
            <p:spPr>
              <a:xfrm>
                <a:off x="4757722" y="3673929"/>
                <a:ext cx="914400" cy="914400"/>
              </a:xfrm>
              <a:prstGeom prst="rect">
                <a:avLst/>
              </a:prstGeom>
            </p:spPr>
          </p:pic>
        </p:grpSp>
      </p:grpSp>
      <p:grpSp>
        <p:nvGrpSpPr>
          <p:cNvPr id="25" name="Group 24">
            <a:extLst>
              <a:ext uri="{FF2B5EF4-FFF2-40B4-BE49-F238E27FC236}">
                <a16:creationId xmlns:a16="http://schemas.microsoft.com/office/drawing/2014/main" id="{8E4D78A9-7416-FB09-4E29-297862DA6513}"/>
              </a:ext>
            </a:extLst>
          </p:cNvPr>
          <p:cNvGrpSpPr/>
          <p:nvPr/>
        </p:nvGrpSpPr>
        <p:grpSpPr>
          <a:xfrm>
            <a:off x="576916" y="3743597"/>
            <a:ext cx="3470899" cy="147635"/>
            <a:chOff x="600693" y="3616592"/>
            <a:chExt cx="3470899" cy="147635"/>
          </a:xfrm>
        </p:grpSpPr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85BA6CB8-5CE9-0D29-E015-257D04AEB574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2336143" y="1946771"/>
              <a:ext cx="0" cy="3470899"/>
            </a:xfrm>
            <a:prstGeom prst="line">
              <a:avLst/>
            </a:prstGeom>
            <a:ln w="9525">
              <a:solidFill>
                <a:schemeClr val="accent6">
                  <a:lumMod val="1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8" name="Group 17">
              <a:extLst>
                <a:ext uri="{FF2B5EF4-FFF2-40B4-BE49-F238E27FC236}">
                  <a16:creationId xmlns:a16="http://schemas.microsoft.com/office/drawing/2014/main" id="{CF0C72F4-D0C6-7B80-F968-9AFB7C239BF5}"/>
                </a:ext>
              </a:extLst>
            </p:cNvPr>
            <p:cNvGrpSpPr/>
            <p:nvPr/>
          </p:nvGrpSpPr>
          <p:grpSpPr>
            <a:xfrm rot="5400000">
              <a:off x="2262325" y="3531249"/>
              <a:ext cx="147635" cy="318321"/>
              <a:chOff x="4312662" y="3842137"/>
              <a:chExt cx="216150" cy="472130"/>
            </a:xfrm>
          </p:grpSpPr>
          <p:sp>
            <p:nvSpPr>
              <p:cNvPr id="19" name="Rectangle 18">
                <a:extLst>
                  <a:ext uri="{FF2B5EF4-FFF2-40B4-BE49-F238E27FC236}">
                    <a16:creationId xmlns:a16="http://schemas.microsoft.com/office/drawing/2014/main" id="{3A932B2D-FBE2-79CE-5330-1B74C7C56030}"/>
                  </a:ext>
                </a:extLst>
              </p:cNvPr>
              <p:cNvSpPr/>
              <p:nvPr/>
            </p:nvSpPr>
            <p:spPr bwMode="auto">
              <a:xfrm>
                <a:off x="4387118" y="3925609"/>
                <a:ext cx="48259" cy="305190"/>
              </a:xfrm>
              <a:prstGeom prst="rect">
                <a:avLst/>
              </a:prstGeom>
              <a:solidFill>
                <a:schemeClr val="bg1"/>
              </a:solidFill>
              <a:ln w="9525">
                <a:noFill/>
                <a:round/>
                <a:headEnd/>
                <a:tailEnd/>
              </a:ln>
              <a:effectLst/>
            </p:spPr>
            <p:txBody>
              <a:bodyPr rtlCol="0" anchor="ctr">
                <a:noAutofit/>
              </a:bodyPr>
              <a:lstStyle/>
              <a:p>
                <a:pPr algn="ctr" defTabSz="892941"/>
                <a:endParaRPr lang="it-IT" sz="1200" b="1" kern="0" dirty="0">
                  <a:solidFill>
                    <a:prstClr val="white"/>
                  </a:solidFill>
                  <a:latin typeface="Arial Regular"/>
                </a:endParaRPr>
              </a:p>
            </p:txBody>
          </p:sp>
          <p:grpSp>
            <p:nvGrpSpPr>
              <p:cNvPr id="20" name="Group 19">
                <a:extLst>
                  <a:ext uri="{FF2B5EF4-FFF2-40B4-BE49-F238E27FC236}">
                    <a16:creationId xmlns:a16="http://schemas.microsoft.com/office/drawing/2014/main" id="{1A26A34C-3770-F4F2-E7E1-87D8CD9E3F03}"/>
                  </a:ext>
                </a:extLst>
              </p:cNvPr>
              <p:cNvGrpSpPr/>
              <p:nvPr/>
            </p:nvGrpSpPr>
            <p:grpSpPr>
              <a:xfrm>
                <a:off x="4312662" y="3842137"/>
                <a:ext cx="216150" cy="472130"/>
                <a:chOff x="1945877" y="1501172"/>
                <a:chExt cx="154224" cy="406057"/>
              </a:xfrm>
            </p:grpSpPr>
            <p:sp>
              <p:nvSpPr>
                <p:cNvPr id="21" name="Freeform 127">
                  <a:extLst>
                    <a:ext uri="{FF2B5EF4-FFF2-40B4-BE49-F238E27FC236}">
                      <a16:creationId xmlns:a16="http://schemas.microsoft.com/office/drawing/2014/main" id="{60FA9C25-6AC0-7D12-DC22-EF5650B709E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flipH="1">
                  <a:off x="1945877" y="1501172"/>
                  <a:ext cx="97920" cy="406057"/>
                </a:xfrm>
                <a:custGeom>
                  <a:avLst/>
                  <a:gdLst>
                    <a:gd name="T0" fmla="*/ 25 w 40"/>
                    <a:gd name="T1" fmla="*/ 69 h 76"/>
                    <a:gd name="T2" fmla="*/ 26 w 40"/>
                    <a:gd name="T3" fmla="*/ 70 h 76"/>
                    <a:gd name="T4" fmla="*/ 27 w 40"/>
                    <a:gd name="T5" fmla="*/ 71 h 76"/>
                    <a:gd name="T6" fmla="*/ 36 w 40"/>
                    <a:gd name="T7" fmla="*/ 61 h 76"/>
                    <a:gd name="T8" fmla="*/ 11 w 40"/>
                    <a:gd name="T9" fmla="*/ 38 h 76"/>
                    <a:gd name="T10" fmla="*/ 36 w 40"/>
                    <a:gd name="T11" fmla="*/ 14 h 76"/>
                    <a:gd name="T12" fmla="*/ 37 w 40"/>
                    <a:gd name="T13" fmla="*/ 13 h 76"/>
                    <a:gd name="T14" fmla="*/ 26 w 40"/>
                    <a:gd name="T15" fmla="*/ 5 h 76"/>
                    <a:gd name="T16" fmla="*/ 25 w 40"/>
                    <a:gd name="T17" fmla="*/ 7 h 76"/>
                    <a:gd name="T18" fmla="*/ 25 w 40"/>
                    <a:gd name="T19" fmla="*/ 14 h 76"/>
                    <a:gd name="T20" fmla="*/ 23 w 40"/>
                    <a:gd name="T21" fmla="*/ 17 h 76"/>
                    <a:gd name="T22" fmla="*/ 0 w 40"/>
                    <a:gd name="T23" fmla="*/ 38 h 76"/>
                    <a:gd name="T24" fmla="*/ 23 w 40"/>
                    <a:gd name="T25" fmla="*/ 59 h 76"/>
                    <a:gd name="T26" fmla="*/ 25 w 40"/>
                    <a:gd name="T27" fmla="*/ 69 h 7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40" h="76">
                      <a:moveTo>
                        <a:pt x="25" y="69"/>
                      </a:moveTo>
                      <a:cubicBezTo>
                        <a:pt x="26" y="70"/>
                        <a:pt x="26" y="70"/>
                        <a:pt x="26" y="70"/>
                      </a:cubicBezTo>
                      <a:cubicBezTo>
                        <a:pt x="26" y="70"/>
                        <a:pt x="27" y="71"/>
                        <a:pt x="27" y="71"/>
                      </a:cubicBezTo>
                      <a:cubicBezTo>
                        <a:pt x="36" y="76"/>
                        <a:pt x="40" y="68"/>
                        <a:pt x="36" y="61"/>
                      </a:cubicBezTo>
                      <a:cubicBezTo>
                        <a:pt x="11" y="38"/>
                        <a:pt x="11" y="38"/>
                        <a:pt x="11" y="38"/>
                      </a:cubicBezTo>
                      <a:cubicBezTo>
                        <a:pt x="36" y="14"/>
                        <a:pt x="36" y="14"/>
                        <a:pt x="36" y="14"/>
                      </a:cubicBezTo>
                      <a:cubicBezTo>
                        <a:pt x="36" y="14"/>
                        <a:pt x="37" y="13"/>
                        <a:pt x="37" y="13"/>
                      </a:cubicBezTo>
                      <a:cubicBezTo>
                        <a:pt x="40" y="6"/>
                        <a:pt x="33" y="0"/>
                        <a:pt x="26" y="5"/>
                      </a:cubicBezTo>
                      <a:cubicBezTo>
                        <a:pt x="25" y="7"/>
                        <a:pt x="25" y="7"/>
                        <a:pt x="25" y="7"/>
                      </a:cubicBezTo>
                      <a:cubicBezTo>
                        <a:pt x="26" y="9"/>
                        <a:pt x="26" y="12"/>
                        <a:pt x="25" y="14"/>
                      </a:cubicBezTo>
                      <a:cubicBezTo>
                        <a:pt x="24" y="15"/>
                        <a:pt x="23" y="17"/>
                        <a:pt x="23" y="17"/>
                      </a:cubicBezTo>
                      <a:cubicBezTo>
                        <a:pt x="0" y="38"/>
                        <a:pt x="0" y="38"/>
                        <a:pt x="0" y="38"/>
                      </a:cubicBezTo>
                      <a:cubicBezTo>
                        <a:pt x="23" y="59"/>
                        <a:pt x="23" y="59"/>
                        <a:pt x="23" y="59"/>
                      </a:cubicBezTo>
                      <a:cubicBezTo>
                        <a:pt x="25" y="62"/>
                        <a:pt x="25" y="65"/>
                        <a:pt x="25" y="69"/>
                      </a:cubicBezTo>
                      <a:close/>
                    </a:path>
                  </a:pathLst>
                </a:custGeom>
                <a:solidFill>
                  <a:schemeClr val="accent1">
                    <a:lumMod val="75000"/>
                    <a:lumOff val="25000"/>
                  </a:schemeClr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6624" rtl="0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it-IT" sz="1800" b="0" i="0" u="none" strike="noStrike" kern="1200" cap="none" spc="0" normalizeH="0" baseline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ＭＳ Ｐゴシック"/>
                    <a:cs typeface="+mn-cs"/>
                  </a:endParaRPr>
                </a:p>
              </p:txBody>
            </p:sp>
            <p:sp>
              <p:nvSpPr>
                <p:cNvPr id="22" name="Freeform 128">
                  <a:extLst>
                    <a:ext uri="{FF2B5EF4-FFF2-40B4-BE49-F238E27FC236}">
                      <a16:creationId xmlns:a16="http://schemas.microsoft.com/office/drawing/2014/main" id="{C368DA35-54AD-552F-8D50-26F2508D356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flipH="1">
                  <a:off x="1985045" y="1501172"/>
                  <a:ext cx="115056" cy="406057"/>
                </a:xfrm>
                <a:custGeom>
                  <a:avLst/>
                  <a:gdLst>
                    <a:gd name="T0" fmla="*/ 0 w 47"/>
                    <a:gd name="T1" fmla="*/ 38 h 76"/>
                    <a:gd name="T2" fmla="*/ 3 w 47"/>
                    <a:gd name="T3" fmla="*/ 43 h 76"/>
                    <a:gd name="T4" fmla="*/ 33 w 47"/>
                    <a:gd name="T5" fmla="*/ 70 h 76"/>
                    <a:gd name="T6" fmla="*/ 34 w 47"/>
                    <a:gd name="T7" fmla="*/ 71 h 76"/>
                    <a:gd name="T8" fmla="*/ 43 w 47"/>
                    <a:gd name="T9" fmla="*/ 61 h 76"/>
                    <a:gd name="T10" fmla="*/ 17 w 47"/>
                    <a:gd name="T11" fmla="*/ 38 h 76"/>
                    <a:gd name="T12" fmla="*/ 43 w 47"/>
                    <a:gd name="T13" fmla="*/ 14 h 76"/>
                    <a:gd name="T14" fmla="*/ 44 w 47"/>
                    <a:gd name="T15" fmla="*/ 13 h 76"/>
                    <a:gd name="T16" fmla="*/ 33 w 47"/>
                    <a:gd name="T17" fmla="*/ 5 h 76"/>
                    <a:gd name="T18" fmla="*/ 3 w 47"/>
                    <a:gd name="T19" fmla="*/ 32 h 76"/>
                    <a:gd name="T20" fmla="*/ 0 w 47"/>
                    <a:gd name="T21" fmla="*/ 38 h 7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47" h="76">
                      <a:moveTo>
                        <a:pt x="0" y="38"/>
                      </a:moveTo>
                      <a:cubicBezTo>
                        <a:pt x="0" y="40"/>
                        <a:pt x="2" y="42"/>
                        <a:pt x="3" y="43"/>
                      </a:cubicBezTo>
                      <a:cubicBezTo>
                        <a:pt x="33" y="70"/>
                        <a:pt x="33" y="70"/>
                        <a:pt x="33" y="70"/>
                      </a:cubicBezTo>
                      <a:cubicBezTo>
                        <a:pt x="33" y="70"/>
                        <a:pt x="33" y="71"/>
                        <a:pt x="34" y="71"/>
                      </a:cubicBezTo>
                      <a:cubicBezTo>
                        <a:pt x="42" y="76"/>
                        <a:pt x="47" y="68"/>
                        <a:pt x="43" y="61"/>
                      </a:cubicBezTo>
                      <a:cubicBezTo>
                        <a:pt x="17" y="38"/>
                        <a:pt x="17" y="38"/>
                        <a:pt x="17" y="38"/>
                      </a:cubicBezTo>
                      <a:cubicBezTo>
                        <a:pt x="43" y="14"/>
                        <a:pt x="43" y="14"/>
                        <a:pt x="43" y="14"/>
                      </a:cubicBezTo>
                      <a:cubicBezTo>
                        <a:pt x="43" y="14"/>
                        <a:pt x="44" y="13"/>
                        <a:pt x="44" y="13"/>
                      </a:cubicBezTo>
                      <a:cubicBezTo>
                        <a:pt x="47" y="6"/>
                        <a:pt x="40" y="0"/>
                        <a:pt x="33" y="5"/>
                      </a:cubicBezTo>
                      <a:cubicBezTo>
                        <a:pt x="3" y="32"/>
                        <a:pt x="3" y="32"/>
                        <a:pt x="3" y="32"/>
                      </a:cubicBezTo>
                      <a:cubicBezTo>
                        <a:pt x="1" y="34"/>
                        <a:pt x="0" y="36"/>
                        <a:pt x="0" y="38"/>
                      </a:cubicBezTo>
                      <a:close/>
                    </a:path>
                  </a:pathLst>
                </a:custGeom>
                <a:solidFill>
                  <a:schemeClr val="tx1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6624" rtl="0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it-IT" sz="1800" b="0" i="0" u="none" strike="noStrike" kern="1200" cap="none" spc="0" normalizeH="0" baseline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ＭＳ Ｐゴシック"/>
                    <a:cs typeface="+mn-cs"/>
                  </a:endParaRPr>
                </a:p>
              </p:txBody>
            </p:sp>
          </p:grpSp>
        </p:grpSp>
      </p:grpSp>
      <p:sp>
        <p:nvSpPr>
          <p:cNvPr id="27" name="Rectangle: Rounded Corners 26">
            <a:extLst>
              <a:ext uri="{FF2B5EF4-FFF2-40B4-BE49-F238E27FC236}">
                <a16:creationId xmlns:a16="http://schemas.microsoft.com/office/drawing/2014/main" id="{A721C20C-EBC9-719B-9F92-6EC80CD59565}"/>
              </a:ext>
            </a:extLst>
          </p:cNvPr>
          <p:cNvSpPr/>
          <p:nvPr/>
        </p:nvSpPr>
        <p:spPr>
          <a:xfrm>
            <a:off x="4723593" y="753533"/>
            <a:ext cx="4203237" cy="3920067"/>
          </a:xfrm>
          <a:prstGeom prst="roundRect">
            <a:avLst>
              <a:gd name="adj" fmla="val 6557"/>
            </a:avLst>
          </a:prstGeom>
          <a:noFill/>
          <a:ln w="9525"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id="{B44D2228-5025-7E82-5675-59DFAC1E3691}"/>
              </a:ext>
            </a:extLst>
          </p:cNvPr>
          <p:cNvGrpSpPr/>
          <p:nvPr/>
        </p:nvGrpSpPr>
        <p:grpSpPr>
          <a:xfrm>
            <a:off x="5089762" y="3743597"/>
            <a:ext cx="3470899" cy="147635"/>
            <a:chOff x="600693" y="3616592"/>
            <a:chExt cx="3470899" cy="147635"/>
          </a:xfrm>
        </p:grpSpPr>
        <p:cxnSp>
          <p:nvCxnSpPr>
            <p:cNvPr id="29" name="Straight Connector 28">
              <a:extLst>
                <a:ext uri="{FF2B5EF4-FFF2-40B4-BE49-F238E27FC236}">
                  <a16:creationId xmlns:a16="http://schemas.microsoft.com/office/drawing/2014/main" id="{4D8A5ECE-8B63-DE3B-A73F-34D9D55E6967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2336143" y="1946771"/>
              <a:ext cx="0" cy="3470899"/>
            </a:xfrm>
            <a:prstGeom prst="line">
              <a:avLst/>
            </a:prstGeom>
            <a:ln w="9525">
              <a:solidFill>
                <a:schemeClr val="accent6">
                  <a:lumMod val="1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30" name="Group 29">
              <a:extLst>
                <a:ext uri="{FF2B5EF4-FFF2-40B4-BE49-F238E27FC236}">
                  <a16:creationId xmlns:a16="http://schemas.microsoft.com/office/drawing/2014/main" id="{FFF1B386-050B-22CC-371C-A98ACE8D5255}"/>
                </a:ext>
              </a:extLst>
            </p:cNvPr>
            <p:cNvGrpSpPr/>
            <p:nvPr/>
          </p:nvGrpSpPr>
          <p:grpSpPr>
            <a:xfrm rot="5400000">
              <a:off x="2262325" y="3531249"/>
              <a:ext cx="147635" cy="318321"/>
              <a:chOff x="4312662" y="3842137"/>
              <a:chExt cx="216150" cy="472130"/>
            </a:xfrm>
          </p:grpSpPr>
          <p:sp>
            <p:nvSpPr>
              <p:cNvPr id="31" name="Rectangle 30">
                <a:extLst>
                  <a:ext uri="{FF2B5EF4-FFF2-40B4-BE49-F238E27FC236}">
                    <a16:creationId xmlns:a16="http://schemas.microsoft.com/office/drawing/2014/main" id="{D58045B7-79E8-1C26-2B8B-6D89671832A0}"/>
                  </a:ext>
                </a:extLst>
              </p:cNvPr>
              <p:cNvSpPr/>
              <p:nvPr/>
            </p:nvSpPr>
            <p:spPr bwMode="auto">
              <a:xfrm>
                <a:off x="4387118" y="3925609"/>
                <a:ext cx="48259" cy="305190"/>
              </a:xfrm>
              <a:prstGeom prst="rect">
                <a:avLst/>
              </a:prstGeom>
              <a:solidFill>
                <a:schemeClr val="bg1"/>
              </a:solidFill>
              <a:ln w="9525">
                <a:noFill/>
                <a:round/>
                <a:headEnd/>
                <a:tailEnd/>
              </a:ln>
              <a:effectLst/>
            </p:spPr>
            <p:txBody>
              <a:bodyPr rtlCol="0" anchor="ctr">
                <a:noAutofit/>
              </a:bodyPr>
              <a:lstStyle/>
              <a:p>
                <a:pPr algn="ctr" defTabSz="892941"/>
                <a:endParaRPr lang="it-IT" sz="1200" b="1" kern="0" dirty="0">
                  <a:solidFill>
                    <a:prstClr val="white"/>
                  </a:solidFill>
                  <a:latin typeface="Arial Regular"/>
                </a:endParaRPr>
              </a:p>
            </p:txBody>
          </p:sp>
          <p:grpSp>
            <p:nvGrpSpPr>
              <p:cNvPr id="32" name="Group 31">
                <a:extLst>
                  <a:ext uri="{FF2B5EF4-FFF2-40B4-BE49-F238E27FC236}">
                    <a16:creationId xmlns:a16="http://schemas.microsoft.com/office/drawing/2014/main" id="{7517052A-C609-B0A3-9404-482BB62344E4}"/>
                  </a:ext>
                </a:extLst>
              </p:cNvPr>
              <p:cNvGrpSpPr/>
              <p:nvPr/>
            </p:nvGrpSpPr>
            <p:grpSpPr>
              <a:xfrm>
                <a:off x="4312662" y="3842137"/>
                <a:ext cx="216150" cy="472130"/>
                <a:chOff x="1945877" y="1501172"/>
                <a:chExt cx="154224" cy="406057"/>
              </a:xfrm>
            </p:grpSpPr>
            <p:sp>
              <p:nvSpPr>
                <p:cNvPr id="33" name="Freeform 127">
                  <a:extLst>
                    <a:ext uri="{FF2B5EF4-FFF2-40B4-BE49-F238E27FC236}">
                      <a16:creationId xmlns:a16="http://schemas.microsoft.com/office/drawing/2014/main" id="{C310716F-8735-D5BF-9213-BF1FA79FC7F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flipH="1">
                  <a:off x="1945877" y="1501172"/>
                  <a:ext cx="97920" cy="406057"/>
                </a:xfrm>
                <a:custGeom>
                  <a:avLst/>
                  <a:gdLst>
                    <a:gd name="T0" fmla="*/ 25 w 40"/>
                    <a:gd name="T1" fmla="*/ 69 h 76"/>
                    <a:gd name="T2" fmla="*/ 26 w 40"/>
                    <a:gd name="T3" fmla="*/ 70 h 76"/>
                    <a:gd name="T4" fmla="*/ 27 w 40"/>
                    <a:gd name="T5" fmla="*/ 71 h 76"/>
                    <a:gd name="T6" fmla="*/ 36 w 40"/>
                    <a:gd name="T7" fmla="*/ 61 h 76"/>
                    <a:gd name="T8" fmla="*/ 11 w 40"/>
                    <a:gd name="T9" fmla="*/ 38 h 76"/>
                    <a:gd name="T10" fmla="*/ 36 w 40"/>
                    <a:gd name="T11" fmla="*/ 14 h 76"/>
                    <a:gd name="T12" fmla="*/ 37 w 40"/>
                    <a:gd name="T13" fmla="*/ 13 h 76"/>
                    <a:gd name="T14" fmla="*/ 26 w 40"/>
                    <a:gd name="T15" fmla="*/ 5 h 76"/>
                    <a:gd name="T16" fmla="*/ 25 w 40"/>
                    <a:gd name="T17" fmla="*/ 7 h 76"/>
                    <a:gd name="T18" fmla="*/ 25 w 40"/>
                    <a:gd name="T19" fmla="*/ 14 h 76"/>
                    <a:gd name="T20" fmla="*/ 23 w 40"/>
                    <a:gd name="T21" fmla="*/ 17 h 76"/>
                    <a:gd name="T22" fmla="*/ 0 w 40"/>
                    <a:gd name="T23" fmla="*/ 38 h 76"/>
                    <a:gd name="T24" fmla="*/ 23 w 40"/>
                    <a:gd name="T25" fmla="*/ 59 h 76"/>
                    <a:gd name="T26" fmla="*/ 25 w 40"/>
                    <a:gd name="T27" fmla="*/ 69 h 7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40" h="76">
                      <a:moveTo>
                        <a:pt x="25" y="69"/>
                      </a:moveTo>
                      <a:cubicBezTo>
                        <a:pt x="26" y="70"/>
                        <a:pt x="26" y="70"/>
                        <a:pt x="26" y="70"/>
                      </a:cubicBezTo>
                      <a:cubicBezTo>
                        <a:pt x="26" y="70"/>
                        <a:pt x="27" y="71"/>
                        <a:pt x="27" y="71"/>
                      </a:cubicBezTo>
                      <a:cubicBezTo>
                        <a:pt x="36" y="76"/>
                        <a:pt x="40" y="68"/>
                        <a:pt x="36" y="61"/>
                      </a:cubicBezTo>
                      <a:cubicBezTo>
                        <a:pt x="11" y="38"/>
                        <a:pt x="11" y="38"/>
                        <a:pt x="11" y="38"/>
                      </a:cubicBezTo>
                      <a:cubicBezTo>
                        <a:pt x="36" y="14"/>
                        <a:pt x="36" y="14"/>
                        <a:pt x="36" y="14"/>
                      </a:cubicBezTo>
                      <a:cubicBezTo>
                        <a:pt x="36" y="14"/>
                        <a:pt x="37" y="13"/>
                        <a:pt x="37" y="13"/>
                      </a:cubicBezTo>
                      <a:cubicBezTo>
                        <a:pt x="40" y="6"/>
                        <a:pt x="33" y="0"/>
                        <a:pt x="26" y="5"/>
                      </a:cubicBezTo>
                      <a:cubicBezTo>
                        <a:pt x="25" y="7"/>
                        <a:pt x="25" y="7"/>
                        <a:pt x="25" y="7"/>
                      </a:cubicBezTo>
                      <a:cubicBezTo>
                        <a:pt x="26" y="9"/>
                        <a:pt x="26" y="12"/>
                        <a:pt x="25" y="14"/>
                      </a:cubicBezTo>
                      <a:cubicBezTo>
                        <a:pt x="24" y="15"/>
                        <a:pt x="23" y="17"/>
                        <a:pt x="23" y="17"/>
                      </a:cubicBezTo>
                      <a:cubicBezTo>
                        <a:pt x="0" y="38"/>
                        <a:pt x="0" y="38"/>
                        <a:pt x="0" y="38"/>
                      </a:cubicBezTo>
                      <a:cubicBezTo>
                        <a:pt x="23" y="59"/>
                        <a:pt x="23" y="59"/>
                        <a:pt x="23" y="59"/>
                      </a:cubicBezTo>
                      <a:cubicBezTo>
                        <a:pt x="25" y="62"/>
                        <a:pt x="25" y="65"/>
                        <a:pt x="25" y="69"/>
                      </a:cubicBezTo>
                      <a:close/>
                    </a:path>
                  </a:pathLst>
                </a:custGeom>
                <a:solidFill>
                  <a:schemeClr val="accent1">
                    <a:lumMod val="75000"/>
                    <a:lumOff val="25000"/>
                  </a:schemeClr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6624" rtl="0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it-IT" sz="1800" b="0" i="0" u="none" strike="noStrike" kern="1200" cap="none" spc="0" normalizeH="0" baseline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ＭＳ Ｐゴシック"/>
                    <a:cs typeface="+mn-cs"/>
                  </a:endParaRPr>
                </a:p>
              </p:txBody>
            </p:sp>
            <p:sp>
              <p:nvSpPr>
                <p:cNvPr id="34" name="Freeform 128">
                  <a:extLst>
                    <a:ext uri="{FF2B5EF4-FFF2-40B4-BE49-F238E27FC236}">
                      <a16:creationId xmlns:a16="http://schemas.microsoft.com/office/drawing/2014/main" id="{27AF9F79-523A-873B-047A-81060BB3253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flipH="1">
                  <a:off x="1985045" y="1501172"/>
                  <a:ext cx="115056" cy="406057"/>
                </a:xfrm>
                <a:custGeom>
                  <a:avLst/>
                  <a:gdLst>
                    <a:gd name="T0" fmla="*/ 0 w 47"/>
                    <a:gd name="T1" fmla="*/ 38 h 76"/>
                    <a:gd name="T2" fmla="*/ 3 w 47"/>
                    <a:gd name="T3" fmla="*/ 43 h 76"/>
                    <a:gd name="T4" fmla="*/ 33 w 47"/>
                    <a:gd name="T5" fmla="*/ 70 h 76"/>
                    <a:gd name="T6" fmla="*/ 34 w 47"/>
                    <a:gd name="T7" fmla="*/ 71 h 76"/>
                    <a:gd name="T8" fmla="*/ 43 w 47"/>
                    <a:gd name="T9" fmla="*/ 61 h 76"/>
                    <a:gd name="T10" fmla="*/ 17 w 47"/>
                    <a:gd name="T11" fmla="*/ 38 h 76"/>
                    <a:gd name="T12" fmla="*/ 43 w 47"/>
                    <a:gd name="T13" fmla="*/ 14 h 76"/>
                    <a:gd name="T14" fmla="*/ 44 w 47"/>
                    <a:gd name="T15" fmla="*/ 13 h 76"/>
                    <a:gd name="T16" fmla="*/ 33 w 47"/>
                    <a:gd name="T17" fmla="*/ 5 h 76"/>
                    <a:gd name="T18" fmla="*/ 3 w 47"/>
                    <a:gd name="T19" fmla="*/ 32 h 76"/>
                    <a:gd name="T20" fmla="*/ 0 w 47"/>
                    <a:gd name="T21" fmla="*/ 38 h 7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47" h="76">
                      <a:moveTo>
                        <a:pt x="0" y="38"/>
                      </a:moveTo>
                      <a:cubicBezTo>
                        <a:pt x="0" y="40"/>
                        <a:pt x="2" y="42"/>
                        <a:pt x="3" y="43"/>
                      </a:cubicBezTo>
                      <a:cubicBezTo>
                        <a:pt x="33" y="70"/>
                        <a:pt x="33" y="70"/>
                        <a:pt x="33" y="70"/>
                      </a:cubicBezTo>
                      <a:cubicBezTo>
                        <a:pt x="33" y="70"/>
                        <a:pt x="33" y="71"/>
                        <a:pt x="34" y="71"/>
                      </a:cubicBezTo>
                      <a:cubicBezTo>
                        <a:pt x="42" y="76"/>
                        <a:pt x="47" y="68"/>
                        <a:pt x="43" y="61"/>
                      </a:cubicBezTo>
                      <a:cubicBezTo>
                        <a:pt x="17" y="38"/>
                        <a:pt x="17" y="38"/>
                        <a:pt x="17" y="38"/>
                      </a:cubicBezTo>
                      <a:cubicBezTo>
                        <a:pt x="43" y="14"/>
                        <a:pt x="43" y="14"/>
                        <a:pt x="43" y="14"/>
                      </a:cubicBezTo>
                      <a:cubicBezTo>
                        <a:pt x="43" y="14"/>
                        <a:pt x="44" y="13"/>
                        <a:pt x="44" y="13"/>
                      </a:cubicBezTo>
                      <a:cubicBezTo>
                        <a:pt x="47" y="6"/>
                        <a:pt x="40" y="0"/>
                        <a:pt x="33" y="5"/>
                      </a:cubicBezTo>
                      <a:cubicBezTo>
                        <a:pt x="3" y="32"/>
                        <a:pt x="3" y="32"/>
                        <a:pt x="3" y="32"/>
                      </a:cubicBezTo>
                      <a:cubicBezTo>
                        <a:pt x="1" y="34"/>
                        <a:pt x="0" y="36"/>
                        <a:pt x="0" y="38"/>
                      </a:cubicBezTo>
                      <a:close/>
                    </a:path>
                  </a:pathLst>
                </a:custGeom>
                <a:solidFill>
                  <a:schemeClr val="tx1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6624" rtl="0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it-IT" sz="1800" b="0" i="0" u="none" strike="noStrike" kern="1200" cap="none" spc="0" normalizeH="0" baseline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ＭＳ Ｐゴシック"/>
                    <a:cs typeface="+mn-cs"/>
                  </a:endParaRPr>
                </a:p>
              </p:txBody>
            </p:sp>
          </p:grpSp>
        </p:grpSp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C54F76E6-DEDB-ECB2-6126-AB465F655ECB}"/>
              </a:ext>
            </a:extLst>
          </p:cNvPr>
          <p:cNvGrpSpPr/>
          <p:nvPr/>
        </p:nvGrpSpPr>
        <p:grpSpPr>
          <a:xfrm>
            <a:off x="5428085" y="585969"/>
            <a:ext cx="2794253" cy="325827"/>
            <a:chOff x="5349937" y="1115894"/>
            <a:chExt cx="2794253" cy="325827"/>
          </a:xfrm>
        </p:grpSpPr>
        <p:sp>
          <p:nvSpPr>
            <p:cNvPr id="45" name="Rectangle: Rounded Corners 44">
              <a:extLst>
                <a:ext uri="{FF2B5EF4-FFF2-40B4-BE49-F238E27FC236}">
                  <a16:creationId xmlns:a16="http://schemas.microsoft.com/office/drawing/2014/main" id="{D85ED34E-E242-D163-4069-051C69B3D3C7}"/>
                </a:ext>
              </a:extLst>
            </p:cNvPr>
            <p:cNvSpPr/>
            <p:nvPr/>
          </p:nvSpPr>
          <p:spPr>
            <a:xfrm>
              <a:off x="5510183" y="1115894"/>
              <a:ext cx="2634007" cy="325827"/>
            </a:xfrm>
            <a:prstGeom prst="roundRect">
              <a:avLst/>
            </a:prstGeom>
            <a:solidFill>
              <a:schemeClr val="bg1"/>
            </a:solidFill>
            <a:ln>
              <a:solidFill>
                <a:schemeClr val="tx2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it-IT" sz="1600" b="1" dirty="0" err="1">
                  <a:solidFill>
                    <a:schemeClr val="tx1"/>
                  </a:solidFill>
                </a:rPr>
                <a:t>Driving</a:t>
              </a:r>
              <a:r>
                <a:rPr lang="it-IT" sz="1600" b="1" dirty="0">
                  <a:solidFill>
                    <a:schemeClr val="tx1"/>
                  </a:solidFill>
                </a:rPr>
                <a:t> style study</a:t>
              </a:r>
            </a:p>
          </p:txBody>
        </p:sp>
        <p:grpSp>
          <p:nvGrpSpPr>
            <p:cNvPr id="56" name="Group 55">
              <a:extLst>
                <a:ext uri="{FF2B5EF4-FFF2-40B4-BE49-F238E27FC236}">
                  <a16:creationId xmlns:a16="http://schemas.microsoft.com/office/drawing/2014/main" id="{D928282E-A856-A121-8267-197F67E7D993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5349937" y="1118561"/>
              <a:ext cx="320492" cy="320492"/>
              <a:chOff x="6776357" y="3673929"/>
              <a:chExt cx="914400" cy="914400"/>
            </a:xfrm>
          </p:grpSpPr>
          <p:sp>
            <p:nvSpPr>
              <p:cNvPr id="53" name="Oval 52">
                <a:extLst>
                  <a:ext uri="{FF2B5EF4-FFF2-40B4-BE49-F238E27FC236}">
                    <a16:creationId xmlns:a16="http://schemas.microsoft.com/office/drawing/2014/main" id="{7B563DCA-F38A-8B52-0B02-B9FC676821C6}"/>
                  </a:ext>
                </a:extLst>
              </p:cNvPr>
              <p:cNvSpPr/>
              <p:nvPr/>
            </p:nvSpPr>
            <p:spPr>
              <a:xfrm>
                <a:off x="6776357" y="3673929"/>
                <a:ext cx="914400" cy="91440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it-IT"/>
              </a:p>
            </p:txBody>
          </p:sp>
          <p:pic>
            <p:nvPicPr>
              <p:cNvPr id="50" name="Graphic 49" descr="Badge with solid fill">
                <a:extLst>
                  <a:ext uri="{FF2B5EF4-FFF2-40B4-BE49-F238E27FC236}">
                    <a16:creationId xmlns:a16="http://schemas.microsoft.com/office/drawing/2014/main" id="{A0EA4367-6CC9-FE2B-BB2E-AC6B524229E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0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11"/>
                  </a:ext>
                </a:extLst>
              </a:blip>
              <a:stretch>
                <a:fillRect/>
              </a:stretch>
            </p:blipFill>
            <p:spPr>
              <a:xfrm>
                <a:off x="6776357" y="3673929"/>
                <a:ext cx="914400" cy="914400"/>
              </a:xfrm>
              <a:prstGeom prst="rect">
                <a:avLst/>
              </a:prstGeom>
            </p:spPr>
          </p:pic>
        </p:grpSp>
      </p:grpSp>
    </p:spTree>
    <p:extLst>
      <p:ext uri="{BB962C8B-B14F-4D97-AF65-F5344CB8AC3E}">
        <p14:creationId xmlns:p14="http://schemas.microsoft.com/office/powerpoint/2010/main" val="201255887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ema di Office">
  <a:themeElements>
    <a:clrScheme name="Unipol Banca">
      <a:dk1>
        <a:srgbClr val="0F3250"/>
      </a:dk1>
      <a:lt1>
        <a:srgbClr val="FFFFFF"/>
      </a:lt1>
      <a:dk2>
        <a:srgbClr val="35547A"/>
      </a:dk2>
      <a:lt2>
        <a:srgbClr val="969696"/>
      </a:lt2>
      <a:accent1>
        <a:srgbClr val="0F3250"/>
      </a:accent1>
      <a:accent2>
        <a:srgbClr val="003C78"/>
      </a:accent2>
      <a:accent3>
        <a:srgbClr val="0050B4"/>
      </a:accent3>
      <a:accent4>
        <a:srgbClr val="0082C8"/>
      </a:accent4>
      <a:accent5>
        <a:srgbClr val="64BEF0"/>
      </a:accent5>
      <a:accent6>
        <a:srgbClr val="DCDCDC"/>
      </a:accent6>
      <a:hlink>
        <a:srgbClr val="0563C1"/>
      </a:hlink>
      <a:folHlink>
        <a:srgbClr val="954F72"/>
      </a:folHlink>
    </a:clrScheme>
    <a:fontScheme name="Tema di 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Tema di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Tema di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Tema di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PublishingExpirationDate xmlns="http://schemas.microsoft.com/sharepoint/v3" xsi:nil="true"/>
    <PublishingStartDate xmlns="http://schemas.microsoft.com/sharepoint/v3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o" ma:contentTypeID="0x010100A84E7370F19E31439D3076787E71DB8D" ma:contentTypeVersion="1" ma:contentTypeDescription="Creare un nuovo documento." ma:contentTypeScope="" ma:versionID="47df72a07843c61f1d42d2a186f238ea">
  <xsd:schema xmlns:xsd="http://www.w3.org/2001/XMLSchema" xmlns:xs="http://www.w3.org/2001/XMLSchema" xmlns:p="http://schemas.microsoft.com/office/2006/metadata/properties" xmlns:ns1="http://schemas.microsoft.com/sharepoint/v3" targetNamespace="http://schemas.microsoft.com/office/2006/metadata/properties" ma:root="true" ma:fieldsID="8336366598cf5e0a1800968765b9a75c" ns1:_="">
    <xsd:import namespace="http://schemas.microsoft.com/sharepoint/v3"/>
    <xsd:element name="properties">
      <xsd:complexType>
        <xsd:sequence>
          <xsd:element name="documentManagement">
            <xsd:complexType>
              <xsd:all>
                <xsd:element ref="ns1:PublishingStartDate" minOccurs="0"/>
                <xsd:element ref="ns1:PublishingExpirationDat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PublishingStartDate" ma:index="8" nillable="true" ma:displayName="Data inizio pianificazione" ma:description="Data inizio pianificazione è una colonna del sito creata dalla funzionalità Pianificazione e usata per specificare la data e l'ora in cui la pagina apparirà per la prima volta ai visitatori del sito." ma:hidden="true" ma:internalName="PublishingStartDate">
      <xsd:simpleType>
        <xsd:restriction base="dms:Unknown"/>
      </xsd:simpleType>
    </xsd:element>
    <xsd:element name="PublishingExpirationDate" ma:index="9" nillable="true" ma:displayName="Data fine pianificazione" ma:description="Data fine pianificazione è una colonna del sito creata dalla funzionalità Pubblicazione e usata per specificare la data e l'ora in cui la pagina non apparirà più ai visitatori del sito." ma:hidden="true" ma:internalName="PublishingExpirationDate">
      <xsd:simpleType>
        <xsd:restriction base="dms:Unknow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ipo di contenuto"/>
        <xsd:element ref="dc:title" minOccurs="0" maxOccurs="1" ma:index="4" ma:displayName="Titolo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CA4E80EF-858F-4735-B508-D7696061C18C}">
  <ds:schemaRefs>
    <ds:schemaRef ds:uri="http://schemas.microsoft.com/office/2006/metadata/properties"/>
    <ds:schemaRef ds:uri="http://schemas.microsoft.com/office/infopath/2007/PartnerControls"/>
    <ds:schemaRef ds:uri="http://purl.org/dc/terms/"/>
    <ds:schemaRef ds:uri="http://www.w3.org/XML/1998/namespace"/>
    <ds:schemaRef ds:uri="http://schemas.openxmlformats.org/package/2006/metadata/core-properties"/>
    <ds:schemaRef ds:uri="http://schemas.microsoft.com/office/2006/documentManagement/types"/>
    <ds:schemaRef ds:uri="http://purl.org/dc/elements/1.1/"/>
    <ds:schemaRef ds:uri="http://purl.org/dc/dcmitype/"/>
    <ds:schemaRef ds:uri="48fd7f4d-9d7e-41c9-9ce7-228250c92501"/>
  </ds:schemaRefs>
</ds:datastoreItem>
</file>

<file path=customXml/itemProps2.xml><?xml version="1.0" encoding="utf-8"?>
<ds:datastoreItem xmlns:ds="http://schemas.openxmlformats.org/officeDocument/2006/customXml" ds:itemID="{9ACFBE1A-475C-40BA-9228-BA1538527431}"/>
</file>

<file path=customXml/itemProps3.xml><?xml version="1.0" encoding="utf-8"?>
<ds:datastoreItem xmlns:ds="http://schemas.openxmlformats.org/officeDocument/2006/customXml" ds:itemID="{41BAF9A7-1CC0-4D34-8847-36447A5D7005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6336</TotalTime>
  <Words>891</Words>
  <Application>Microsoft Office PowerPoint</Application>
  <PresentationFormat>Personalizzato</PresentationFormat>
  <Paragraphs>105</Paragraphs>
  <Slides>9</Slides>
  <Notes>1</Notes>
  <HiddenSlides>0</HiddenSlides>
  <MMClips>0</MMClips>
  <ScaleCrop>false</ScaleCrop>
  <HeadingPairs>
    <vt:vector size="8" baseType="variant">
      <vt:variant>
        <vt:lpstr>Caratteri utilizzati</vt:lpstr>
      </vt:variant>
      <vt:variant>
        <vt:i4>9</vt:i4>
      </vt:variant>
      <vt:variant>
        <vt:lpstr>Tema</vt:lpstr>
      </vt:variant>
      <vt:variant>
        <vt:i4>1</vt:i4>
      </vt:variant>
      <vt:variant>
        <vt:lpstr>Server OLE incorporati</vt:lpstr>
      </vt:variant>
      <vt:variant>
        <vt:i4>1</vt:i4>
      </vt:variant>
      <vt:variant>
        <vt:lpstr>Titoli diapositive</vt:lpstr>
      </vt:variant>
      <vt:variant>
        <vt:i4>9</vt:i4>
      </vt:variant>
    </vt:vector>
  </HeadingPairs>
  <TitlesOfParts>
    <vt:vector size="20" baseType="lpstr">
      <vt:lpstr>Arial</vt:lpstr>
      <vt:lpstr>Arial Regular</vt:lpstr>
      <vt:lpstr>Calibri</vt:lpstr>
      <vt:lpstr>Calibri Light</vt:lpstr>
      <vt:lpstr>Montserrat</vt:lpstr>
      <vt:lpstr>Trebuchet MS</vt:lpstr>
      <vt:lpstr>Verdana</vt:lpstr>
      <vt:lpstr>Wingdings</vt:lpstr>
      <vt:lpstr>Wingdings 2</vt:lpstr>
      <vt:lpstr>Tema di Office</vt:lpstr>
      <vt:lpstr>think-cell Slide</vt:lpstr>
      <vt:lpstr>UnipolTech</vt:lpstr>
      <vt:lpstr>UnipolTech is a 360-degree mobility partner</vt:lpstr>
      <vt:lpstr>UnipolTech is Unipol Group's center of excellence and leader in telematics and electronic tolling</vt:lpstr>
      <vt:lpstr>UnipolTech boxes generate large quantities of data that can be used for different purposes</vt:lpstr>
      <vt:lpstr>The strategic value of UnipolTech makes it a point of reference for technology and data</vt:lpstr>
      <vt:lpstr>The Urban Mobility Council | Green box</vt:lpstr>
      <vt:lpstr>The Urban Mobility Council | Safe cities</vt:lpstr>
      <vt:lpstr>Urban mobility studies for the Municipality of Trento | Available data and ongoing studies</vt:lpstr>
      <vt:lpstr>Urban mobility studies for the Municipality of Trento | First evidence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odello ppt (formato 16:9)</dc:title>
  <dc:subject>Modello ppt (formato 16:9)</dc:subject>
  <dc:creator>PC</dc:creator>
  <cp:lastModifiedBy>Carrea Paola</cp:lastModifiedBy>
  <cp:revision>424</cp:revision>
  <dcterms:created xsi:type="dcterms:W3CDTF">2017-11-09T13:35:32Z</dcterms:created>
  <dcterms:modified xsi:type="dcterms:W3CDTF">2024-09-18T09:32:2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84E7370F19E31439D3076787E71DB8D</vt:lpwstr>
  </property>
  <property fmtid="{D5CDD505-2E9C-101B-9397-08002B2CF9AE}" pid="3" name="_dlc_DocIdItemGuid">
    <vt:lpwstr>f435d005-e518-41f6-8908-4d1d75772b42</vt:lpwstr>
  </property>
  <property fmtid="{D5CDD505-2E9C-101B-9397-08002B2CF9AE}" pid="4" name="Societa">
    <vt:lpwstr>3526;#UnipolTech|acd49b32-f791-4f40-954f-5f05d9d1e2f5</vt:lpwstr>
  </property>
  <property fmtid="{D5CDD505-2E9C-101B-9397-08002B2CF9AE}" pid="5" name="Destinatari">
    <vt:lpwstr/>
  </property>
  <property fmtid="{D5CDD505-2E9C-101B-9397-08002B2CF9AE}" pid="6" name="AreaSocietaria">
    <vt:lpwstr/>
  </property>
  <property fmtid="{D5CDD505-2E9C-101B-9397-08002B2CF9AE}" pid="7" name="Sede">
    <vt:lpwstr/>
  </property>
  <property fmtid="{D5CDD505-2E9C-101B-9397-08002B2CF9AE}" pid="8" name="EnteEmittente">
    <vt:lpwstr/>
  </property>
  <property fmtid="{D5CDD505-2E9C-101B-9397-08002B2CF9AE}" pid="9" name="TipoDocumento">
    <vt:lpwstr>286;#Modulistica|16bbc112-2b9e-4af7-9d34-25c72e804b92</vt:lpwstr>
  </property>
  <property fmtid="{D5CDD505-2E9C-101B-9397-08002B2CF9AE}" pid="10" name="MSIP_Label_ea60d57e-af5b-4752-ac57-3e4f28ca11dc_Enabled">
    <vt:lpwstr>true</vt:lpwstr>
  </property>
  <property fmtid="{D5CDD505-2E9C-101B-9397-08002B2CF9AE}" pid="11" name="MSIP_Label_ea60d57e-af5b-4752-ac57-3e4f28ca11dc_SetDate">
    <vt:lpwstr>2021-07-12T14:05:39Z</vt:lpwstr>
  </property>
  <property fmtid="{D5CDD505-2E9C-101B-9397-08002B2CF9AE}" pid="12" name="MSIP_Label_ea60d57e-af5b-4752-ac57-3e4f28ca11dc_Method">
    <vt:lpwstr>Standard</vt:lpwstr>
  </property>
  <property fmtid="{D5CDD505-2E9C-101B-9397-08002B2CF9AE}" pid="13" name="MSIP_Label_ea60d57e-af5b-4752-ac57-3e4f28ca11dc_Name">
    <vt:lpwstr>ea60d57e-af5b-4752-ac57-3e4f28ca11dc</vt:lpwstr>
  </property>
  <property fmtid="{D5CDD505-2E9C-101B-9397-08002B2CF9AE}" pid="14" name="MSIP_Label_ea60d57e-af5b-4752-ac57-3e4f28ca11dc_SiteId">
    <vt:lpwstr>36da45f1-dd2c-4d1f-af13-5abe46b99921</vt:lpwstr>
  </property>
  <property fmtid="{D5CDD505-2E9C-101B-9397-08002B2CF9AE}" pid="15" name="MSIP_Label_ea60d57e-af5b-4752-ac57-3e4f28ca11dc_ActionId">
    <vt:lpwstr>9cbcabfb-494d-46cc-89a0-ff1f410749e3</vt:lpwstr>
  </property>
  <property fmtid="{D5CDD505-2E9C-101B-9397-08002B2CF9AE}" pid="16" name="MSIP_Label_ea60d57e-af5b-4752-ac57-3e4f28ca11dc_ContentBits">
    <vt:lpwstr>0</vt:lpwstr>
  </property>
</Properties>
</file>